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4785" r:id="rId2"/>
    <p:sldId id="4786" r:id="rId3"/>
    <p:sldId id="4788" r:id="rId4"/>
    <p:sldId id="4787" r:id="rId5"/>
    <p:sldId id="4789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0" d="100"/>
          <a:sy n="70" d="100"/>
        </p:scale>
        <p:origin x="73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irst time activations from model</a:t>
            </a:r>
            <a:endParaRPr lang="en-IN"/>
          </a:p>
        </c:rich>
      </c:tx>
      <c:layout>
        <c:manualLayout>
          <c:xMode val="edge"/>
          <c:yMode val="edge"/>
          <c:x val="0.46789810466706799"/>
          <c:y val="5.91848798045087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758461163752039"/>
          <c:y val="0.10587154523057826"/>
          <c:w val="0.86370781389216877"/>
          <c:h val="0.70497627599232382"/>
        </c:manualLayout>
      </c:layout>
      <c:barChart>
        <c:barDir val="col"/>
        <c:grouping val="stacked"/>
        <c:varyColors val="0"/>
        <c:ser>
          <c:idx val="10"/>
          <c:order val="10"/>
          <c:tx>
            <c:strRef>
              <c:f>Sheet1!$L$1</c:f>
              <c:strCache>
                <c:ptCount val="1"/>
                <c:pt idx="0">
                  <c:v>Other Media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  <a:effectLst/>
          </c:spPr>
          <c:invertIfNegative val="0"/>
          <c:cat>
            <c:numRef>
              <c:f>Sheet1!$A$2:$A$806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L$2:$L$806</c:f>
              <c:numCache>
                <c:formatCode>#,##0</c:formatCode>
                <c:ptCount val="805"/>
                <c:pt idx="0">
                  <c:v>8.8780696999999993</c:v>
                </c:pt>
                <c:pt idx="1">
                  <c:v>20.780365799999998</c:v>
                </c:pt>
                <c:pt idx="2">
                  <c:v>32.747887300000002</c:v>
                </c:pt>
                <c:pt idx="3">
                  <c:v>43.443980000000003</c:v>
                </c:pt>
                <c:pt idx="4">
                  <c:v>52.406236800000002</c:v>
                </c:pt>
                <c:pt idx="5">
                  <c:v>59.615333200000002</c:v>
                </c:pt>
                <c:pt idx="6">
                  <c:v>65.253135400000005</c:v>
                </c:pt>
                <c:pt idx="7">
                  <c:v>69.572143100000005</c:v>
                </c:pt>
                <c:pt idx="8">
                  <c:v>72.829150299999995</c:v>
                </c:pt>
                <c:pt idx="9">
                  <c:v>75.254969399999993</c:v>
                </c:pt>
                <c:pt idx="10">
                  <c:v>77.043652100000003</c:v>
                </c:pt>
                <c:pt idx="11">
                  <c:v>78.351641099999995</c:v>
                </c:pt>
                <c:pt idx="12">
                  <c:v>79.301476500000007</c:v>
                </c:pt>
                <c:pt idx="13">
                  <c:v>79.987146800000005</c:v>
                </c:pt>
                <c:pt idx="14">
                  <c:v>79.987146800000005</c:v>
                </c:pt>
                <c:pt idx="15">
                  <c:v>79.987146800000005</c:v>
                </c:pt>
                <c:pt idx="16">
                  <c:v>79.987146800000005</c:v>
                </c:pt>
                <c:pt idx="17">
                  <c:v>79.987146800000005</c:v>
                </c:pt>
                <c:pt idx="18">
                  <c:v>79.987146800000005</c:v>
                </c:pt>
                <c:pt idx="19">
                  <c:v>79.987146800000005</c:v>
                </c:pt>
                <c:pt idx="20">
                  <c:v>71.801805599999994</c:v>
                </c:pt>
                <c:pt idx="21">
                  <c:v>60.828209100000002</c:v>
                </c:pt>
                <c:pt idx="22">
                  <c:v>49.794476600000003</c:v>
                </c:pt>
                <c:pt idx="23">
                  <c:v>39.932967099999999</c:v>
                </c:pt>
                <c:pt idx="24">
                  <c:v>31.6700078</c:v>
                </c:pt>
                <c:pt idx="25">
                  <c:v>25.023415</c:v>
                </c:pt>
                <c:pt idx="26">
                  <c:v>19.825513300000001</c:v>
                </c:pt>
                <c:pt idx="27">
                  <c:v>15.8435044</c:v>
                </c:pt>
                <c:pt idx="28">
                  <c:v>12.840631500000001</c:v>
                </c:pt>
                <c:pt idx="29">
                  <c:v>10.6040916</c:v>
                </c:pt>
                <c:pt idx="30">
                  <c:v>8.9549742999999999</c:v>
                </c:pt>
                <c:pt idx="31">
                  <c:v>7.7490437999999999</c:v>
                </c:pt>
                <c:pt idx="32">
                  <c:v>6.8733209999999998</c:v>
                </c:pt>
                <c:pt idx="33">
                  <c:v>6.2411516000000002</c:v>
                </c:pt>
                <c:pt idx="34">
                  <c:v>6.2411516000000002</c:v>
                </c:pt>
                <c:pt idx="35">
                  <c:v>6.2411516000000002</c:v>
                </c:pt>
                <c:pt idx="36">
                  <c:v>6.2411516000000002</c:v>
                </c:pt>
                <c:pt idx="37">
                  <c:v>6.2411516000000002</c:v>
                </c:pt>
                <c:pt idx="38">
                  <c:v>6.2411516000000002</c:v>
                </c:pt>
                <c:pt idx="39">
                  <c:v>6.2411516000000002</c:v>
                </c:pt>
                <c:pt idx="40">
                  <c:v>6.2411516000000002</c:v>
                </c:pt>
                <c:pt idx="41">
                  <c:v>6.2411516000000002</c:v>
                </c:pt>
                <c:pt idx="42">
                  <c:v>6.2411516000000002</c:v>
                </c:pt>
                <c:pt idx="43">
                  <c:v>6.2411516000000002</c:v>
                </c:pt>
                <c:pt idx="44">
                  <c:v>6.2411516000000002</c:v>
                </c:pt>
                <c:pt idx="45">
                  <c:v>6.2411516000000002</c:v>
                </c:pt>
                <c:pt idx="46">
                  <c:v>6.2411516000000002</c:v>
                </c:pt>
                <c:pt idx="47">
                  <c:v>6.2411516000000002</c:v>
                </c:pt>
                <c:pt idx="48">
                  <c:v>6.2411516000000002</c:v>
                </c:pt>
                <c:pt idx="49">
                  <c:v>6.2411516000000002</c:v>
                </c:pt>
                <c:pt idx="50">
                  <c:v>6.2411516000000002</c:v>
                </c:pt>
                <c:pt idx="51">
                  <c:v>5.7972127999999996</c:v>
                </c:pt>
                <c:pt idx="52">
                  <c:v>5.2020507</c:v>
                </c:pt>
                <c:pt idx="53">
                  <c:v>4.6036270999999997</c:v>
                </c:pt>
                <c:pt idx="54">
                  <c:v>4.0687800000000003</c:v>
                </c:pt>
                <c:pt idx="55">
                  <c:v>3.6206315</c:v>
                </c:pt>
                <c:pt idx="56">
                  <c:v>3.260148</c:v>
                </c:pt>
                <c:pt idx="57">
                  <c:v>2.9782354999999998</c:v>
                </c:pt>
                <c:pt idx="58">
                  <c:v>2.7622680000000002</c:v>
                </c:pt>
                <c:pt idx="59">
                  <c:v>2.5994047</c:v>
                </c:pt>
                <c:pt idx="60">
                  <c:v>2.4781040999999999</c:v>
                </c:pt>
                <c:pt idx="61">
                  <c:v>2.3886628999999999</c:v>
                </c:pt>
                <c:pt idx="62">
                  <c:v>2.3232582000000002</c:v>
                </c:pt>
                <c:pt idx="63">
                  <c:v>2.2757627</c:v>
                </c:pt>
                <c:pt idx="64">
                  <c:v>2.2414763999999998</c:v>
                </c:pt>
                <c:pt idx="65">
                  <c:v>2.2414763999999998</c:v>
                </c:pt>
                <c:pt idx="66">
                  <c:v>2.2414763999999998</c:v>
                </c:pt>
                <c:pt idx="67">
                  <c:v>2.2414763999999998</c:v>
                </c:pt>
                <c:pt idx="68">
                  <c:v>2.2414763999999998</c:v>
                </c:pt>
                <c:pt idx="69">
                  <c:v>2.2414763999999998</c:v>
                </c:pt>
                <c:pt idx="70">
                  <c:v>2.2414763999999998</c:v>
                </c:pt>
                <c:pt idx="71">
                  <c:v>2.2414763999999998</c:v>
                </c:pt>
                <c:pt idx="72">
                  <c:v>2.2414763999999998</c:v>
                </c:pt>
                <c:pt idx="73">
                  <c:v>2.2414763999999998</c:v>
                </c:pt>
                <c:pt idx="74">
                  <c:v>2.2414763999999998</c:v>
                </c:pt>
                <c:pt idx="75">
                  <c:v>2.2414763999999998</c:v>
                </c:pt>
                <c:pt idx="76">
                  <c:v>2.2414763999999998</c:v>
                </c:pt>
                <c:pt idx="77">
                  <c:v>2.2414763999999998</c:v>
                </c:pt>
                <c:pt idx="78">
                  <c:v>2.2414763999999998</c:v>
                </c:pt>
                <c:pt idx="79">
                  <c:v>2.2414763999999998</c:v>
                </c:pt>
                <c:pt idx="80">
                  <c:v>2.2414763999999998</c:v>
                </c:pt>
                <c:pt idx="81">
                  <c:v>2.2414763999999998</c:v>
                </c:pt>
                <c:pt idx="82">
                  <c:v>3.5747211999999999</c:v>
                </c:pt>
                <c:pt idx="83">
                  <c:v>5.3621226000000002</c:v>
                </c:pt>
                <c:pt idx="84">
                  <c:v>7.159319</c:v>
                </c:pt>
                <c:pt idx="85">
                  <c:v>8.7655814000000003</c:v>
                </c:pt>
                <c:pt idx="86">
                  <c:v>10.111468800000001</c:v>
                </c:pt>
                <c:pt idx="87">
                  <c:v>11.1940791</c:v>
                </c:pt>
                <c:pt idx="88">
                  <c:v>12.0407238</c:v>
                </c:pt>
                <c:pt idx="89">
                  <c:v>12.6893213</c:v>
                </c:pt>
                <c:pt idx="90">
                  <c:v>13.1784353</c:v>
                </c:pt>
                <c:pt idx="91">
                  <c:v>13.5427274</c:v>
                </c:pt>
                <c:pt idx="92">
                  <c:v>13.811338900000001</c:v>
                </c:pt>
                <c:pt idx="93">
                  <c:v>14.007763300000001</c:v>
                </c:pt>
                <c:pt idx="94">
                  <c:v>14.1504028</c:v>
                </c:pt>
                <c:pt idx="95">
                  <c:v>14.2533718</c:v>
                </c:pt>
                <c:pt idx="96">
                  <c:v>14.2533718</c:v>
                </c:pt>
                <c:pt idx="97">
                  <c:v>14.2533718</c:v>
                </c:pt>
                <c:pt idx="98">
                  <c:v>14.2533718</c:v>
                </c:pt>
                <c:pt idx="99">
                  <c:v>14.2533718</c:v>
                </c:pt>
                <c:pt idx="100">
                  <c:v>14.2533718</c:v>
                </c:pt>
                <c:pt idx="101">
                  <c:v>14.2533718</c:v>
                </c:pt>
                <c:pt idx="102">
                  <c:v>14.2533718</c:v>
                </c:pt>
                <c:pt idx="103">
                  <c:v>14.2533718</c:v>
                </c:pt>
                <c:pt idx="104">
                  <c:v>14.2533718</c:v>
                </c:pt>
                <c:pt idx="105">
                  <c:v>14.2533718</c:v>
                </c:pt>
                <c:pt idx="106">
                  <c:v>14.2533718</c:v>
                </c:pt>
                <c:pt idx="107">
                  <c:v>14.2533718</c:v>
                </c:pt>
                <c:pt idx="108">
                  <c:v>14.2533718</c:v>
                </c:pt>
                <c:pt idx="109">
                  <c:v>14.2533718</c:v>
                </c:pt>
                <c:pt idx="110">
                  <c:v>14.2533718</c:v>
                </c:pt>
                <c:pt idx="111">
                  <c:v>14.2533718</c:v>
                </c:pt>
                <c:pt idx="112">
                  <c:v>15.007306700000001</c:v>
                </c:pt>
                <c:pt idx="113">
                  <c:v>16.018062100000002</c:v>
                </c:pt>
                <c:pt idx="114">
                  <c:v>17.034356500000001</c:v>
                </c:pt>
                <c:pt idx="115">
                  <c:v>17.942679800000001</c:v>
                </c:pt>
                <c:pt idx="116">
                  <c:v>18.703764</c:v>
                </c:pt>
                <c:pt idx="117">
                  <c:v>19.315968000000002</c:v>
                </c:pt>
                <c:pt idx="118">
                  <c:v>19.794736</c:v>
                </c:pt>
                <c:pt idx="119">
                  <c:v>20.161510700000001</c:v>
                </c:pt>
                <c:pt idx="120">
                  <c:v>20.438099099999999</c:v>
                </c:pt>
                <c:pt idx="121">
                  <c:v>20.644102199999999</c:v>
                </c:pt>
                <c:pt idx="122">
                  <c:v>20.795998999999998</c:v>
                </c:pt>
                <c:pt idx="123">
                  <c:v>20.9070748</c:v>
                </c:pt>
                <c:pt idx="124">
                  <c:v>20.987735799999999</c:v>
                </c:pt>
                <c:pt idx="125">
                  <c:v>21.0459636</c:v>
                </c:pt>
                <c:pt idx="126">
                  <c:v>21.0459636</c:v>
                </c:pt>
                <c:pt idx="127">
                  <c:v>21.0459636</c:v>
                </c:pt>
                <c:pt idx="128">
                  <c:v>21.0459636</c:v>
                </c:pt>
                <c:pt idx="129">
                  <c:v>21.0459636</c:v>
                </c:pt>
                <c:pt idx="130">
                  <c:v>21.0459636</c:v>
                </c:pt>
                <c:pt idx="131">
                  <c:v>21.0459636</c:v>
                </c:pt>
                <c:pt idx="132">
                  <c:v>21.0459636</c:v>
                </c:pt>
                <c:pt idx="133">
                  <c:v>21.0459636</c:v>
                </c:pt>
                <c:pt idx="134">
                  <c:v>21.0459636</c:v>
                </c:pt>
                <c:pt idx="135">
                  <c:v>21.0459636</c:v>
                </c:pt>
                <c:pt idx="136">
                  <c:v>21.0459636</c:v>
                </c:pt>
                <c:pt idx="137">
                  <c:v>21.0459636</c:v>
                </c:pt>
                <c:pt idx="138">
                  <c:v>21.0459636</c:v>
                </c:pt>
                <c:pt idx="139">
                  <c:v>21.0459636</c:v>
                </c:pt>
                <c:pt idx="140">
                  <c:v>21.0459636</c:v>
                </c:pt>
                <c:pt idx="141">
                  <c:v>21.0459636</c:v>
                </c:pt>
                <c:pt idx="142">
                  <c:v>21.0459636</c:v>
                </c:pt>
                <c:pt idx="143">
                  <c:v>20.421491</c:v>
                </c:pt>
                <c:pt idx="144">
                  <c:v>19.584298</c:v>
                </c:pt>
                <c:pt idx="145">
                  <c:v>18.742517100000001</c:v>
                </c:pt>
                <c:pt idx="146">
                  <c:v>17.990167</c:v>
                </c:pt>
                <c:pt idx="147">
                  <c:v>17.359772799999998</c:v>
                </c:pt>
                <c:pt idx="148">
                  <c:v>16.8526937</c:v>
                </c:pt>
                <c:pt idx="149">
                  <c:v>16.456137600000002</c:v>
                </c:pt>
                <c:pt idx="150">
                  <c:v>16.152343900000002</c:v>
                </c:pt>
                <c:pt idx="151">
                  <c:v>15.9232499</c:v>
                </c:pt>
                <c:pt idx="152">
                  <c:v>15.752620800000001</c:v>
                </c:pt>
                <c:pt idx="153">
                  <c:v>15.626806999999999</c:v>
                </c:pt>
                <c:pt idx="154">
                  <c:v>15.5348047</c:v>
                </c:pt>
                <c:pt idx="155">
                  <c:v>15.4679944</c:v>
                </c:pt>
                <c:pt idx="156">
                  <c:v>15.419765200000001</c:v>
                </c:pt>
                <c:pt idx="157">
                  <c:v>15.419765200000001</c:v>
                </c:pt>
                <c:pt idx="158">
                  <c:v>15.419765200000001</c:v>
                </c:pt>
                <c:pt idx="159">
                  <c:v>15.419765200000001</c:v>
                </c:pt>
                <c:pt idx="160">
                  <c:v>15.419765200000001</c:v>
                </c:pt>
                <c:pt idx="161">
                  <c:v>15.419765200000001</c:v>
                </c:pt>
                <c:pt idx="162">
                  <c:v>15.419765200000001</c:v>
                </c:pt>
                <c:pt idx="163">
                  <c:v>15.419765200000001</c:v>
                </c:pt>
                <c:pt idx="164">
                  <c:v>15.419765200000001</c:v>
                </c:pt>
                <c:pt idx="165">
                  <c:v>15.419765200000001</c:v>
                </c:pt>
                <c:pt idx="166">
                  <c:v>15.419765200000001</c:v>
                </c:pt>
                <c:pt idx="167">
                  <c:v>15.419765200000001</c:v>
                </c:pt>
                <c:pt idx="168">
                  <c:v>15.419765200000001</c:v>
                </c:pt>
                <c:pt idx="169">
                  <c:v>15.419765200000001</c:v>
                </c:pt>
                <c:pt idx="170">
                  <c:v>15.419765200000001</c:v>
                </c:pt>
                <c:pt idx="171">
                  <c:v>15.419765200000001</c:v>
                </c:pt>
                <c:pt idx="172">
                  <c:v>15.419765200000001</c:v>
                </c:pt>
                <c:pt idx="173">
                  <c:v>17.282345400000001</c:v>
                </c:pt>
                <c:pt idx="174">
                  <c:v>19.779395099999999</c:v>
                </c:pt>
                <c:pt idx="175">
                  <c:v>22.290128800000002</c:v>
                </c:pt>
                <c:pt idx="176">
                  <c:v>24.5341223</c:v>
                </c:pt>
                <c:pt idx="177">
                  <c:v>26.414364599999999</c:v>
                </c:pt>
                <c:pt idx="178">
                  <c:v>27.9268015</c:v>
                </c:pt>
                <c:pt idx="179">
                  <c:v>29.1095878</c:v>
                </c:pt>
                <c:pt idx="180">
                  <c:v>30.015696699999999</c:v>
                </c:pt>
                <c:pt idx="181">
                  <c:v>30.6990026</c:v>
                </c:pt>
                <c:pt idx="182">
                  <c:v>31.207928800000001</c:v>
                </c:pt>
                <c:pt idx="183">
                  <c:v>31.583186699999999</c:v>
                </c:pt>
                <c:pt idx="184">
                  <c:v>31.857596999999998</c:v>
                </c:pt>
                <c:pt idx="185">
                  <c:v>32.056868299999998</c:v>
                </c:pt>
                <c:pt idx="186">
                  <c:v>32.200718999999999</c:v>
                </c:pt>
                <c:pt idx="187">
                  <c:v>32.200718999999999</c:v>
                </c:pt>
                <c:pt idx="188">
                  <c:v>32.200718999999999</c:v>
                </c:pt>
                <c:pt idx="189">
                  <c:v>32.200718999999999</c:v>
                </c:pt>
                <c:pt idx="190">
                  <c:v>32.200718999999999</c:v>
                </c:pt>
                <c:pt idx="191">
                  <c:v>32.200718999999999</c:v>
                </c:pt>
                <c:pt idx="192">
                  <c:v>32.200718999999999</c:v>
                </c:pt>
                <c:pt idx="193">
                  <c:v>32.200718999999999</c:v>
                </c:pt>
                <c:pt idx="194">
                  <c:v>32.200718999999999</c:v>
                </c:pt>
                <c:pt idx="195">
                  <c:v>32.200718999999999</c:v>
                </c:pt>
                <c:pt idx="196">
                  <c:v>32.200718999999999</c:v>
                </c:pt>
                <c:pt idx="197">
                  <c:v>32.200718999999999</c:v>
                </c:pt>
                <c:pt idx="198">
                  <c:v>32.200718999999999</c:v>
                </c:pt>
                <c:pt idx="199">
                  <c:v>32.200718999999999</c:v>
                </c:pt>
                <c:pt idx="200">
                  <c:v>32.200718999999999</c:v>
                </c:pt>
                <c:pt idx="201">
                  <c:v>32.200718999999999</c:v>
                </c:pt>
                <c:pt idx="202">
                  <c:v>32.200718999999999</c:v>
                </c:pt>
                <c:pt idx="203">
                  <c:v>32.200718999999999</c:v>
                </c:pt>
                <c:pt idx="204">
                  <c:v>30.835961399999999</c:v>
                </c:pt>
                <c:pt idx="205">
                  <c:v>29.006312699999999</c:v>
                </c:pt>
                <c:pt idx="206">
                  <c:v>27.166637399999999</c:v>
                </c:pt>
                <c:pt idx="207">
                  <c:v>25.522409100000001</c:v>
                </c:pt>
                <c:pt idx="208">
                  <c:v>24.144710100000001</c:v>
                </c:pt>
                <c:pt idx="209">
                  <c:v>23.036511000000001</c:v>
                </c:pt>
                <c:pt idx="210">
                  <c:v>22.169854900000001</c:v>
                </c:pt>
                <c:pt idx="211">
                  <c:v>21.505927</c:v>
                </c:pt>
                <c:pt idx="212">
                  <c:v>21.005252200000001</c:v>
                </c:pt>
                <c:pt idx="213">
                  <c:v>20.632349699999999</c:v>
                </c:pt>
                <c:pt idx="214">
                  <c:v>20.3573892</c:v>
                </c:pt>
                <c:pt idx="215">
                  <c:v>20.156322100000001</c:v>
                </c:pt>
                <c:pt idx="216">
                  <c:v>20.0103112</c:v>
                </c:pt>
                <c:pt idx="217">
                  <c:v>19.904908299999999</c:v>
                </c:pt>
                <c:pt idx="218">
                  <c:v>19.904908299999999</c:v>
                </c:pt>
                <c:pt idx="219">
                  <c:v>19.904908299999999</c:v>
                </c:pt>
                <c:pt idx="220">
                  <c:v>19.904908299999999</c:v>
                </c:pt>
                <c:pt idx="221">
                  <c:v>19.904908299999999</c:v>
                </c:pt>
                <c:pt idx="222">
                  <c:v>19.904908299999999</c:v>
                </c:pt>
                <c:pt idx="223">
                  <c:v>19.904908299999999</c:v>
                </c:pt>
                <c:pt idx="224">
                  <c:v>19.904908299999999</c:v>
                </c:pt>
                <c:pt idx="225">
                  <c:v>19.904908299999999</c:v>
                </c:pt>
                <c:pt idx="226">
                  <c:v>19.904908299999999</c:v>
                </c:pt>
                <c:pt idx="227">
                  <c:v>19.904908299999999</c:v>
                </c:pt>
                <c:pt idx="228">
                  <c:v>19.904908299999999</c:v>
                </c:pt>
                <c:pt idx="229">
                  <c:v>19.904908299999999</c:v>
                </c:pt>
                <c:pt idx="230">
                  <c:v>19.904908299999999</c:v>
                </c:pt>
                <c:pt idx="231">
                  <c:v>19.904908299999999</c:v>
                </c:pt>
                <c:pt idx="232">
                  <c:v>19.904908299999999</c:v>
                </c:pt>
                <c:pt idx="233">
                  <c:v>19.904908299999999</c:v>
                </c:pt>
                <c:pt idx="234">
                  <c:v>19.904908299999999</c:v>
                </c:pt>
                <c:pt idx="235">
                  <c:v>18.096452500000002</c:v>
                </c:pt>
                <c:pt idx="236">
                  <c:v>15.671963999999999</c:v>
                </c:pt>
                <c:pt idx="237">
                  <c:v>13.234189199999999</c:v>
                </c:pt>
                <c:pt idx="238">
                  <c:v>11.055403500000001</c:v>
                </c:pt>
                <c:pt idx="239">
                  <c:v>9.2297987999999993</c:v>
                </c:pt>
                <c:pt idx="240">
                  <c:v>7.7613114999999997</c:v>
                </c:pt>
                <c:pt idx="241">
                  <c:v>6.6128955999999999</c:v>
                </c:pt>
                <c:pt idx="242">
                  <c:v>5.7331171000000003</c:v>
                </c:pt>
                <c:pt idx="243">
                  <c:v>5.0696671999999996</c:v>
                </c:pt>
                <c:pt idx="244">
                  <c:v>4.5755298</c:v>
                </c:pt>
                <c:pt idx="245">
                  <c:v>4.2111764999999997</c:v>
                </c:pt>
                <c:pt idx="246">
                  <c:v>3.9447402</c:v>
                </c:pt>
                <c:pt idx="247">
                  <c:v>3.7512593999999999</c:v>
                </c:pt>
                <c:pt idx="248">
                  <c:v>3.6115889000000001</c:v>
                </c:pt>
                <c:pt idx="249">
                  <c:v>3.6115889000000001</c:v>
                </c:pt>
                <c:pt idx="250">
                  <c:v>3.6115889000000001</c:v>
                </c:pt>
                <c:pt idx="251">
                  <c:v>3.6115889000000001</c:v>
                </c:pt>
                <c:pt idx="252">
                  <c:v>3.6115889000000001</c:v>
                </c:pt>
                <c:pt idx="253">
                  <c:v>3.6115889000000001</c:v>
                </c:pt>
                <c:pt idx="254">
                  <c:v>3.6115889000000001</c:v>
                </c:pt>
                <c:pt idx="255">
                  <c:v>7.9539892000000005</c:v>
                </c:pt>
                <c:pt idx="256">
                  <c:v>15.478059900000002</c:v>
                </c:pt>
                <c:pt idx="257">
                  <c:v>23.7026854</c:v>
                </c:pt>
                <c:pt idx="258">
                  <c:v>28.306971000000001</c:v>
                </c:pt>
                <c:pt idx="259">
                  <c:v>25.977310800000001</c:v>
                </c:pt>
                <c:pt idx="260">
                  <c:v>20.722619600000002</c:v>
                </c:pt>
                <c:pt idx="261">
                  <c:v>15.656628399999999</c:v>
                </c:pt>
                <c:pt idx="262">
                  <c:v>11.6787612</c:v>
                </c:pt>
                <c:pt idx="263">
                  <c:v>8.8384087999999998</c:v>
                </c:pt>
                <c:pt idx="264">
                  <c:v>7.1546700000000003</c:v>
                </c:pt>
                <c:pt idx="265">
                  <c:v>9.3434173000000005</c:v>
                </c:pt>
                <c:pt idx="266">
                  <c:v>14.162307899999998</c:v>
                </c:pt>
                <c:pt idx="267">
                  <c:v>31.042448300000004</c:v>
                </c:pt>
                <c:pt idx="268">
                  <c:v>43.416517999999996</c:v>
                </c:pt>
                <c:pt idx="269">
                  <c:v>48.737626900000002</c:v>
                </c:pt>
                <c:pt idx="270">
                  <c:v>54.450676100000003</c:v>
                </c:pt>
                <c:pt idx="271">
                  <c:v>54.026778799999995</c:v>
                </c:pt>
                <c:pt idx="272">
                  <c:v>49.832972600000005</c:v>
                </c:pt>
                <c:pt idx="273">
                  <c:v>50.909086000000002</c:v>
                </c:pt>
                <c:pt idx="274">
                  <c:v>49.7068662</c:v>
                </c:pt>
                <c:pt idx="275">
                  <c:v>50.287706099999994</c:v>
                </c:pt>
                <c:pt idx="276">
                  <c:v>51.458978100000003</c:v>
                </c:pt>
                <c:pt idx="277">
                  <c:v>57.662844100000001</c:v>
                </c:pt>
                <c:pt idx="278">
                  <c:v>63.251398500000001</c:v>
                </c:pt>
                <c:pt idx="279">
                  <c:v>55.388379</c:v>
                </c:pt>
                <c:pt idx="280">
                  <c:v>42.906117000000002</c:v>
                </c:pt>
                <c:pt idx="281">
                  <c:v>31.576646999999998</c:v>
                </c:pt>
                <c:pt idx="282">
                  <c:v>22.874941999999997</c:v>
                </c:pt>
                <c:pt idx="283">
                  <c:v>16.757862100000001</c:v>
                </c:pt>
                <c:pt idx="284">
                  <c:v>12.666019899999998</c:v>
                </c:pt>
                <c:pt idx="285">
                  <c:v>10.006802499999999</c:v>
                </c:pt>
                <c:pt idx="286">
                  <c:v>8.3341449000000001</c:v>
                </c:pt>
                <c:pt idx="287">
                  <c:v>7.2979340999999991</c:v>
                </c:pt>
                <c:pt idx="288">
                  <c:v>6.6513707999999996</c:v>
                </c:pt>
                <c:pt idx="289">
                  <c:v>6.2666395999999995</c:v>
                </c:pt>
                <c:pt idx="290">
                  <c:v>6.0309823999999992</c:v>
                </c:pt>
                <c:pt idx="291">
                  <c:v>5.8901200999999999</c:v>
                </c:pt>
                <c:pt idx="292">
                  <c:v>5.7966042999999994</c:v>
                </c:pt>
                <c:pt idx="293">
                  <c:v>5.7432491999999993</c:v>
                </c:pt>
                <c:pt idx="294">
                  <c:v>5.7359418999999994</c:v>
                </c:pt>
                <c:pt idx="295">
                  <c:v>5.0992822000000002</c:v>
                </c:pt>
                <c:pt idx="296">
                  <c:v>4.2457501000000004</c:v>
                </c:pt>
                <c:pt idx="297">
                  <c:v>3.3875527000000001</c:v>
                </c:pt>
                <c:pt idx="298">
                  <c:v>2.6205302000000001</c:v>
                </c:pt>
                <c:pt idx="299">
                  <c:v>1.9778419</c:v>
                </c:pt>
                <c:pt idx="300">
                  <c:v>1.4608737000000001</c:v>
                </c:pt>
                <c:pt idx="301">
                  <c:v>1.0565838999999999</c:v>
                </c:pt>
                <c:pt idx="302">
                  <c:v>0.74686549999999996</c:v>
                </c:pt>
                <c:pt idx="303">
                  <c:v>0.51330379999999998</c:v>
                </c:pt>
                <c:pt idx="304">
                  <c:v>0.33934700000000001</c:v>
                </c:pt>
                <c:pt idx="305">
                  <c:v>0.21107960000000001</c:v>
                </c:pt>
                <c:pt idx="306">
                  <c:v>0.117283</c:v>
                </c:pt>
                <c:pt idx="307">
                  <c:v>4.91698E-2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.4285905999999999</c:v>
                </c:pt>
                <c:pt idx="357">
                  <c:v>3.3438162999999999</c:v>
                </c:pt>
                <c:pt idx="358">
                  <c:v>5.2695376999999999</c:v>
                </c:pt>
                <c:pt idx="359">
                  <c:v>6.9906705000000002</c:v>
                </c:pt>
                <c:pt idx="360">
                  <c:v>8.4328078000000009</c:v>
                </c:pt>
                <c:pt idx="361">
                  <c:v>9.5928400000000007</c:v>
                </c:pt>
                <c:pt idx="362">
                  <c:v>10.500031699999999</c:v>
                </c:pt>
                <c:pt idx="363">
                  <c:v>11.1950132</c:v>
                </c:pt>
                <c:pt idx="364">
                  <c:v>11.719105600000001</c:v>
                </c:pt>
                <c:pt idx="365">
                  <c:v>12.1094498</c:v>
                </c:pt>
                <c:pt idx="366">
                  <c:v>12.397270799999999</c:v>
                </c:pt>
                <c:pt idx="367">
                  <c:v>12.6077423</c:v>
                </c:pt>
                <c:pt idx="368">
                  <c:v>12.7605825</c:v>
                </c:pt>
                <c:pt idx="369">
                  <c:v>12.8709153</c:v>
                </c:pt>
                <c:pt idx="370">
                  <c:v>12.8709153</c:v>
                </c:pt>
                <c:pt idx="371">
                  <c:v>12.8709153</c:v>
                </c:pt>
                <c:pt idx="372">
                  <c:v>12.8709153</c:v>
                </c:pt>
                <c:pt idx="373">
                  <c:v>12.8709153</c:v>
                </c:pt>
                <c:pt idx="374">
                  <c:v>12.8709153</c:v>
                </c:pt>
                <c:pt idx="375">
                  <c:v>12.8709153</c:v>
                </c:pt>
                <c:pt idx="376">
                  <c:v>12.8709153</c:v>
                </c:pt>
                <c:pt idx="377">
                  <c:v>12.8709153</c:v>
                </c:pt>
                <c:pt idx="378">
                  <c:v>12.8709153</c:v>
                </c:pt>
                <c:pt idx="379">
                  <c:v>12.8709153</c:v>
                </c:pt>
                <c:pt idx="380">
                  <c:v>12.8709153</c:v>
                </c:pt>
                <c:pt idx="381">
                  <c:v>12.8709153</c:v>
                </c:pt>
                <c:pt idx="382">
                  <c:v>12.8709153</c:v>
                </c:pt>
                <c:pt idx="383">
                  <c:v>12.8709153</c:v>
                </c:pt>
                <c:pt idx="384">
                  <c:v>12.8709153</c:v>
                </c:pt>
                <c:pt idx="385">
                  <c:v>12.8709153</c:v>
                </c:pt>
                <c:pt idx="386">
                  <c:v>14.3768692</c:v>
                </c:pt>
                <c:pt idx="387">
                  <c:v>16.395811500000001</c:v>
                </c:pt>
                <c:pt idx="388">
                  <c:v>18.4258177</c:v>
                </c:pt>
                <c:pt idx="389">
                  <c:v>20.240156200000001</c:v>
                </c:pt>
                <c:pt idx="390">
                  <c:v>21.7603905</c:v>
                </c:pt>
                <c:pt idx="391">
                  <c:v>22.983242700000002</c:v>
                </c:pt>
                <c:pt idx="392">
                  <c:v>23.9395621</c:v>
                </c:pt>
                <c:pt idx="393">
                  <c:v>24.672179400000001</c:v>
                </c:pt>
                <c:pt idx="394">
                  <c:v>25.224653400000001</c:v>
                </c:pt>
                <c:pt idx="395">
                  <c:v>25.636136100000002</c:v>
                </c:pt>
                <c:pt idx="396">
                  <c:v>25.939543700000002</c:v>
                </c:pt>
                <c:pt idx="397">
                  <c:v>26.161413</c:v>
                </c:pt>
                <c:pt idx="398">
                  <c:v>26.32253</c:v>
                </c:pt>
                <c:pt idx="399">
                  <c:v>26.438837700000001</c:v>
                </c:pt>
                <c:pt idx="400">
                  <c:v>26.438837700000001</c:v>
                </c:pt>
                <c:pt idx="401">
                  <c:v>26.438837700000001</c:v>
                </c:pt>
                <c:pt idx="402">
                  <c:v>26.438837700000001</c:v>
                </c:pt>
                <c:pt idx="403">
                  <c:v>26.438837700000001</c:v>
                </c:pt>
                <c:pt idx="404">
                  <c:v>26.438837700000001</c:v>
                </c:pt>
                <c:pt idx="405">
                  <c:v>26.438837700000001</c:v>
                </c:pt>
                <c:pt idx="406">
                  <c:v>26.438837700000001</c:v>
                </c:pt>
                <c:pt idx="407">
                  <c:v>26.438837700000001</c:v>
                </c:pt>
                <c:pt idx="408">
                  <c:v>26.438837700000001</c:v>
                </c:pt>
                <c:pt idx="409">
                  <c:v>26.438837700000001</c:v>
                </c:pt>
                <c:pt idx="410">
                  <c:v>26.438837700000001</c:v>
                </c:pt>
                <c:pt idx="411">
                  <c:v>26.438837700000001</c:v>
                </c:pt>
                <c:pt idx="412">
                  <c:v>26.438837700000001</c:v>
                </c:pt>
                <c:pt idx="413">
                  <c:v>26.438837700000001</c:v>
                </c:pt>
                <c:pt idx="414">
                  <c:v>26.438837700000001</c:v>
                </c:pt>
                <c:pt idx="415">
                  <c:v>26.438837700000001</c:v>
                </c:pt>
                <c:pt idx="416">
                  <c:v>26.438837700000001</c:v>
                </c:pt>
                <c:pt idx="417">
                  <c:v>31.479488700000001</c:v>
                </c:pt>
                <c:pt idx="418">
                  <c:v>38.237187599999999</c:v>
                </c:pt>
                <c:pt idx="419">
                  <c:v>45.031919100000003</c:v>
                </c:pt>
                <c:pt idx="420">
                  <c:v>51.104778799999998</c:v>
                </c:pt>
                <c:pt idx="421">
                  <c:v>56.193228300000001</c:v>
                </c:pt>
                <c:pt idx="422">
                  <c:v>60.286295899999999</c:v>
                </c:pt>
                <c:pt idx="423">
                  <c:v>63.487238699999999</c:v>
                </c:pt>
                <c:pt idx="424">
                  <c:v>65.9394171</c:v>
                </c:pt>
                <c:pt idx="425">
                  <c:v>67.788629499999999</c:v>
                </c:pt>
                <c:pt idx="426">
                  <c:v>69.165923000000006</c:v>
                </c:pt>
                <c:pt idx="427">
                  <c:v>70.181473199999999</c:v>
                </c:pt>
                <c:pt idx="428">
                  <c:v>70.924102700000006</c:v>
                </c:pt>
                <c:pt idx="429">
                  <c:v>71.463385299999999</c:v>
                </c:pt>
                <c:pt idx="430">
                  <c:v>71.852684400000001</c:v>
                </c:pt>
                <c:pt idx="431">
                  <c:v>71.852684400000001</c:v>
                </c:pt>
                <c:pt idx="432">
                  <c:v>71.852684400000001</c:v>
                </c:pt>
                <c:pt idx="433">
                  <c:v>71.852684400000001</c:v>
                </c:pt>
                <c:pt idx="434">
                  <c:v>71.852684400000001</c:v>
                </c:pt>
                <c:pt idx="435">
                  <c:v>71.852684400000001</c:v>
                </c:pt>
                <c:pt idx="436">
                  <c:v>71.852684400000001</c:v>
                </c:pt>
                <c:pt idx="437">
                  <c:v>78.6412835</c:v>
                </c:pt>
                <c:pt idx="438">
                  <c:v>88.837164400000006</c:v>
                </c:pt>
                <c:pt idx="439">
                  <c:v>96.743537799999999</c:v>
                </c:pt>
                <c:pt idx="440">
                  <c:v>102.2652495</c:v>
                </c:pt>
                <c:pt idx="441">
                  <c:v>106.3386005</c:v>
                </c:pt>
                <c:pt idx="442">
                  <c:v>108.7945751</c:v>
                </c:pt>
                <c:pt idx="443">
                  <c:v>109.6789746</c:v>
                </c:pt>
                <c:pt idx="444">
                  <c:v>110.2713004</c:v>
                </c:pt>
                <c:pt idx="445">
                  <c:v>110.66958099999999</c:v>
                </c:pt>
                <c:pt idx="446">
                  <c:v>111.02046319999999</c:v>
                </c:pt>
                <c:pt idx="447">
                  <c:v>111.4529186</c:v>
                </c:pt>
                <c:pt idx="448">
                  <c:v>127.5632643</c:v>
                </c:pt>
                <c:pt idx="449">
                  <c:v>144.93035019999999</c:v>
                </c:pt>
                <c:pt idx="450">
                  <c:v>157.6021475</c:v>
                </c:pt>
                <c:pt idx="451">
                  <c:v>165.33853160000001</c:v>
                </c:pt>
                <c:pt idx="452">
                  <c:v>170.892202</c:v>
                </c:pt>
                <c:pt idx="453">
                  <c:v>180.63808030000001</c:v>
                </c:pt>
                <c:pt idx="454">
                  <c:v>198.17092919999999</c:v>
                </c:pt>
                <c:pt idx="455">
                  <c:v>221.63946459999997</c:v>
                </c:pt>
                <c:pt idx="456">
                  <c:v>240.50490500000001</c:v>
                </c:pt>
                <c:pt idx="457">
                  <c:v>257.11253950000003</c:v>
                </c:pt>
                <c:pt idx="458">
                  <c:v>275.13144509999995</c:v>
                </c:pt>
                <c:pt idx="459">
                  <c:v>299.96937270000001</c:v>
                </c:pt>
                <c:pt idx="460">
                  <c:v>320.99176620000003</c:v>
                </c:pt>
                <c:pt idx="461">
                  <c:v>331.10123120000003</c:v>
                </c:pt>
                <c:pt idx="462">
                  <c:v>341.19339579999996</c:v>
                </c:pt>
                <c:pt idx="463">
                  <c:v>347.15151740000005</c:v>
                </c:pt>
                <c:pt idx="464">
                  <c:v>339.54986910000002</c:v>
                </c:pt>
                <c:pt idx="465">
                  <c:v>327.19601590000002</c:v>
                </c:pt>
                <c:pt idx="466">
                  <c:v>326.93694449999998</c:v>
                </c:pt>
                <c:pt idx="467">
                  <c:v>319.20671340000001</c:v>
                </c:pt>
                <c:pt idx="468">
                  <c:v>296.76882389999997</c:v>
                </c:pt>
                <c:pt idx="469">
                  <c:v>278.78671059999999</c:v>
                </c:pt>
                <c:pt idx="470">
                  <c:v>266.08723850000001</c:v>
                </c:pt>
                <c:pt idx="471">
                  <c:v>250.64660450000002</c:v>
                </c:pt>
                <c:pt idx="472">
                  <c:v>250.28160559999998</c:v>
                </c:pt>
                <c:pt idx="473">
                  <c:v>253.3588737</c:v>
                </c:pt>
                <c:pt idx="474">
                  <c:v>257.14940660000002</c:v>
                </c:pt>
                <c:pt idx="475">
                  <c:v>245.5701747</c:v>
                </c:pt>
                <c:pt idx="476">
                  <c:v>240.93651050000003</c:v>
                </c:pt>
                <c:pt idx="477">
                  <c:v>241.26605439999997</c:v>
                </c:pt>
                <c:pt idx="478">
                  <c:v>243.95754010000002</c:v>
                </c:pt>
                <c:pt idx="479">
                  <c:v>250.66512560000001</c:v>
                </c:pt>
                <c:pt idx="480">
                  <c:v>263.80944829999999</c:v>
                </c:pt>
                <c:pt idx="481">
                  <c:v>284.53303880000004</c:v>
                </c:pt>
                <c:pt idx="482">
                  <c:v>289.07816580000002</c:v>
                </c:pt>
                <c:pt idx="483">
                  <c:v>282.75328810000002</c:v>
                </c:pt>
                <c:pt idx="484">
                  <c:v>270.56758460000003</c:v>
                </c:pt>
                <c:pt idx="485">
                  <c:v>250.9237645</c:v>
                </c:pt>
                <c:pt idx="486">
                  <c:v>240.26169480000001</c:v>
                </c:pt>
                <c:pt idx="487">
                  <c:v>244.8592089</c:v>
                </c:pt>
                <c:pt idx="488">
                  <c:v>249.18110330000002</c:v>
                </c:pt>
                <c:pt idx="489">
                  <c:v>245.5934263</c:v>
                </c:pt>
                <c:pt idx="490">
                  <c:v>238.9415108</c:v>
                </c:pt>
                <c:pt idx="491">
                  <c:v>239.35008999999999</c:v>
                </c:pt>
                <c:pt idx="492">
                  <c:v>235.359915</c:v>
                </c:pt>
                <c:pt idx="493">
                  <c:v>239.29215800000003</c:v>
                </c:pt>
                <c:pt idx="494">
                  <c:v>234.13183230000001</c:v>
                </c:pt>
                <c:pt idx="495">
                  <c:v>216.38212949999999</c:v>
                </c:pt>
                <c:pt idx="496">
                  <c:v>194.60680350000001</c:v>
                </c:pt>
                <c:pt idx="497">
                  <c:v>175.07169400000001</c:v>
                </c:pt>
                <c:pt idx="498">
                  <c:v>160.5712906</c:v>
                </c:pt>
                <c:pt idx="499">
                  <c:v>151.277964</c:v>
                </c:pt>
                <c:pt idx="500">
                  <c:v>147.81627109999999</c:v>
                </c:pt>
                <c:pt idx="501">
                  <c:v>149.53727069999999</c:v>
                </c:pt>
                <c:pt idx="502">
                  <c:v>170.42171299999998</c:v>
                </c:pt>
                <c:pt idx="503">
                  <c:v>188.05227830000001</c:v>
                </c:pt>
                <c:pt idx="504">
                  <c:v>201.86389109999999</c:v>
                </c:pt>
                <c:pt idx="505">
                  <c:v>211.59694000000002</c:v>
                </c:pt>
                <c:pt idx="506">
                  <c:v>218.0990759</c:v>
                </c:pt>
                <c:pt idx="507">
                  <c:v>228.66965619999999</c:v>
                </c:pt>
                <c:pt idx="508">
                  <c:v>245.37415890000003</c:v>
                </c:pt>
                <c:pt idx="509">
                  <c:v>228.0314636</c:v>
                </c:pt>
                <c:pt idx="510">
                  <c:v>194.2615255</c:v>
                </c:pt>
                <c:pt idx="511">
                  <c:v>163.58971270000001</c:v>
                </c:pt>
                <c:pt idx="512">
                  <c:v>146.6452371</c:v>
                </c:pt>
                <c:pt idx="513">
                  <c:v>120.1400605</c:v>
                </c:pt>
                <c:pt idx="514">
                  <c:v>96.032781</c:v>
                </c:pt>
                <c:pt idx="515">
                  <c:v>78.436785299999983</c:v>
                </c:pt>
                <c:pt idx="516">
                  <c:v>66.926598400000003</c:v>
                </c:pt>
                <c:pt idx="517">
                  <c:v>58.015265500000012</c:v>
                </c:pt>
                <c:pt idx="518">
                  <c:v>50.508447700000005</c:v>
                </c:pt>
                <c:pt idx="519">
                  <c:v>44.541288200000004</c:v>
                </c:pt>
                <c:pt idx="520">
                  <c:v>38.663623400000006</c:v>
                </c:pt>
                <c:pt idx="521">
                  <c:v>34.747965899999997</c:v>
                </c:pt>
                <c:pt idx="522">
                  <c:v>32.649929900000004</c:v>
                </c:pt>
                <c:pt idx="523">
                  <c:v>30.570569199999998</c:v>
                </c:pt>
                <c:pt idx="524">
                  <c:v>24.465174099999999</c:v>
                </c:pt>
                <c:pt idx="525">
                  <c:v>17.974595399999998</c:v>
                </c:pt>
                <c:pt idx="526">
                  <c:v>12.676528099999999</c:v>
                </c:pt>
                <c:pt idx="527">
                  <c:v>8.8040135999999993</c:v>
                </c:pt>
                <c:pt idx="528">
                  <c:v>7.8866197000000007</c:v>
                </c:pt>
                <c:pt idx="529">
                  <c:v>8.4920071000000004</c:v>
                </c:pt>
                <c:pt idx="530">
                  <c:v>8.8663164000000005</c:v>
                </c:pt>
                <c:pt idx="531">
                  <c:v>7.5718558999999992</c:v>
                </c:pt>
                <c:pt idx="532">
                  <c:v>5.9684214999999998</c:v>
                </c:pt>
                <c:pt idx="533">
                  <c:v>4.5991271000000005</c:v>
                </c:pt>
                <c:pt idx="534">
                  <c:v>3.5786275999999999</c:v>
                </c:pt>
                <c:pt idx="535">
                  <c:v>2.8736299000000001</c:v>
                </c:pt>
                <c:pt idx="536">
                  <c:v>2.4040853000000002</c:v>
                </c:pt>
                <c:pt idx="537">
                  <c:v>2.1009085999999999</c:v>
                </c:pt>
                <c:pt idx="538">
                  <c:v>1.9124821000000001</c:v>
                </c:pt>
                <c:pt idx="539">
                  <c:v>1.9835683</c:v>
                </c:pt>
                <c:pt idx="540">
                  <c:v>2.1582371</c:v>
                </c:pt>
                <c:pt idx="541">
                  <c:v>2.359972</c:v>
                </c:pt>
                <c:pt idx="542">
                  <c:v>2.5519053999999999</c:v>
                </c:pt>
                <c:pt idx="543">
                  <c:v>2.7151457000000003</c:v>
                </c:pt>
                <c:pt idx="544">
                  <c:v>2.8493016</c:v>
                </c:pt>
                <c:pt idx="545">
                  <c:v>10.993551800000001</c:v>
                </c:pt>
                <c:pt idx="546">
                  <c:v>21.853725900000001</c:v>
                </c:pt>
                <c:pt idx="547">
                  <c:v>29.9572349</c:v>
                </c:pt>
                <c:pt idx="548">
                  <c:v>69.773711199999994</c:v>
                </c:pt>
                <c:pt idx="549">
                  <c:v>116.8564456</c:v>
                </c:pt>
                <c:pt idx="550">
                  <c:v>159.6916842</c:v>
                </c:pt>
                <c:pt idx="551">
                  <c:v>158.49093309999998</c:v>
                </c:pt>
                <c:pt idx="552">
                  <c:v>141.509458</c:v>
                </c:pt>
                <c:pt idx="553">
                  <c:v>121.65123210000002</c:v>
                </c:pt>
                <c:pt idx="554">
                  <c:v>103.41637950000001</c:v>
                </c:pt>
                <c:pt idx="555">
                  <c:v>88.844263799999993</c:v>
                </c:pt>
                <c:pt idx="556">
                  <c:v>76.468001700000002</c:v>
                </c:pt>
                <c:pt idx="557">
                  <c:v>66.979536699999997</c:v>
                </c:pt>
                <c:pt idx="558">
                  <c:v>58.825381700000001</c:v>
                </c:pt>
                <c:pt idx="559">
                  <c:v>55.638184099999997</c:v>
                </c:pt>
                <c:pt idx="560">
                  <c:v>54.527319400000003</c:v>
                </c:pt>
                <c:pt idx="561">
                  <c:v>54.149814900000003</c:v>
                </c:pt>
                <c:pt idx="562">
                  <c:v>56.5226787</c:v>
                </c:pt>
                <c:pt idx="563">
                  <c:v>64.051425100000003</c:v>
                </c:pt>
                <c:pt idx="564">
                  <c:v>65.805831999999995</c:v>
                </c:pt>
                <c:pt idx="565">
                  <c:v>60.550099900000006</c:v>
                </c:pt>
                <c:pt idx="566">
                  <c:v>55.466259400000006</c:v>
                </c:pt>
                <c:pt idx="567">
                  <c:v>55.820670600000007</c:v>
                </c:pt>
                <c:pt idx="568">
                  <c:v>55.972084600000002</c:v>
                </c:pt>
                <c:pt idx="569">
                  <c:v>61.958142800000005</c:v>
                </c:pt>
                <c:pt idx="570">
                  <c:v>67.655419300000005</c:v>
                </c:pt>
                <c:pt idx="571">
                  <c:v>69.780795799999993</c:v>
                </c:pt>
                <c:pt idx="572">
                  <c:v>65.804853300000005</c:v>
                </c:pt>
                <c:pt idx="573">
                  <c:v>62.189263799999999</c:v>
                </c:pt>
                <c:pt idx="574">
                  <c:v>58.399687399999998</c:v>
                </c:pt>
                <c:pt idx="575">
                  <c:v>53.911568800000005</c:v>
                </c:pt>
                <c:pt idx="576">
                  <c:v>51.784522100000004</c:v>
                </c:pt>
                <c:pt idx="577">
                  <c:v>50.472111699999999</c:v>
                </c:pt>
                <c:pt idx="578">
                  <c:v>45.7004582</c:v>
                </c:pt>
                <c:pt idx="579">
                  <c:v>35.944763000000002</c:v>
                </c:pt>
                <c:pt idx="580">
                  <c:v>25.684239300000002</c:v>
                </c:pt>
                <c:pt idx="581">
                  <c:v>17.349061199999998</c:v>
                </c:pt>
                <c:pt idx="582">
                  <c:v>11.2812895</c:v>
                </c:pt>
                <c:pt idx="583">
                  <c:v>7.1380755000000002</c:v>
                </c:pt>
                <c:pt idx="584">
                  <c:v>4.423451</c:v>
                </c:pt>
                <c:pt idx="585">
                  <c:v>2.6902637999999999</c:v>
                </c:pt>
                <c:pt idx="586">
                  <c:v>1.6094572</c:v>
                </c:pt>
                <c:pt idx="587">
                  <c:v>0.9518278</c:v>
                </c:pt>
                <c:pt idx="588">
                  <c:v>0.54810289999999995</c:v>
                </c:pt>
                <c:pt idx="589">
                  <c:v>0.30642520000000001</c:v>
                </c:pt>
                <c:pt idx="590">
                  <c:v>0.16451789999999999</c:v>
                </c:pt>
                <c:pt idx="591">
                  <c:v>7.6823100000000005E-2</c:v>
                </c:pt>
                <c:pt idx="592">
                  <c:v>2.56253E-2</c:v>
                </c:pt>
                <c:pt idx="593">
                  <c:v>3.3394000000000002E-3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0</c:v>
                </c:pt>
                <c:pt idx="601">
                  <c:v>0</c:v>
                </c:pt>
                <c:pt idx="602">
                  <c:v>0</c:v>
                </c:pt>
                <c:pt idx="603">
                  <c:v>0</c:v>
                </c:pt>
                <c:pt idx="604">
                  <c:v>1.5110433000000001</c:v>
                </c:pt>
                <c:pt idx="605">
                  <c:v>3.5596893000000001</c:v>
                </c:pt>
                <c:pt idx="606">
                  <c:v>5.0612297999999996</c:v>
                </c:pt>
                <c:pt idx="607">
                  <c:v>5.9137306000000001</c:v>
                </c:pt>
                <c:pt idx="608">
                  <c:v>6.6476591999999997</c:v>
                </c:pt>
                <c:pt idx="609">
                  <c:v>7.0626081999999997</c:v>
                </c:pt>
                <c:pt idx="610">
                  <c:v>7.2973255999999997</c:v>
                </c:pt>
                <c:pt idx="611">
                  <c:v>7.3869306999999997</c:v>
                </c:pt>
                <c:pt idx="612">
                  <c:v>7.4034918000000003</c:v>
                </c:pt>
                <c:pt idx="613">
                  <c:v>7.5438339000000001</c:v>
                </c:pt>
                <c:pt idx="614">
                  <c:v>7.9880461</c:v>
                </c:pt>
                <c:pt idx="615">
                  <c:v>8.2242093000000001</c:v>
                </c:pt>
                <c:pt idx="616">
                  <c:v>8.4050867999999994</c:v>
                </c:pt>
                <c:pt idx="617">
                  <c:v>8.5265891000000007</c:v>
                </c:pt>
                <c:pt idx="618">
                  <c:v>8.5554237999999998</c:v>
                </c:pt>
                <c:pt idx="619">
                  <c:v>8.4857710999999991</c:v>
                </c:pt>
                <c:pt idx="620">
                  <c:v>8.6027521999999994</c:v>
                </c:pt>
                <c:pt idx="621">
                  <c:v>8.7586663999999992</c:v>
                </c:pt>
                <c:pt idx="622">
                  <c:v>8.8963807999999993</c:v>
                </c:pt>
                <c:pt idx="623">
                  <c:v>8.8514061000000002</c:v>
                </c:pt>
                <c:pt idx="624">
                  <c:v>8.7374460999999997</c:v>
                </c:pt>
                <c:pt idx="625">
                  <c:v>8.6069624000000005</c:v>
                </c:pt>
                <c:pt idx="626">
                  <c:v>8.5555445999999993</c:v>
                </c:pt>
                <c:pt idx="627">
                  <c:v>8.5154074000000008</c:v>
                </c:pt>
                <c:pt idx="628">
                  <c:v>8.5170665000000003</c:v>
                </c:pt>
                <c:pt idx="629">
                  <c:v>9.2236750000000001</c:v>
                </c:pt>
                <c:pt idx="630">
                  <c:v>10.191188100000002</c:v>
                </c:pt>
                <c:pt idx="631">
                  <c:v>11.0659089</c:v>
                </c:pt>
                <c:pt idx="632">
                  <c:v>11.7213671</c:v>
                </c:pt>
                <c:pt idx="633">
                  <c:v>12.243840500000001</c:v>
                </c:pt>
                <c:pt idx="634">
                  <c:v>12.762239000000001</c:v>
                </c:pt>
                <c:pt idx="635">
                  <c:v>13.209038100000001</c:v>
                </c:pt>
                <c:pt idx="636">
                  <c:v>13.439045800000001</c:v>
                </c:pt>
                <c:pt idx="637">
                  <c:v>13.5003001</c:v>
                </c:pt>
                <c:pt idx="638">
                  <c:v>13.455141399999999</c:v>
                </c:pt>
                <c:pt idx="639">
                  <c:v>13.3600136</c:v>
                </c:pt>
                <c:pt idx="640">
                  <c:v>13.329980899999999</c:v>
                </c:pt>
                <c:pt idx="641">
                  <c:v>13.6133211</c:v>
                </c:pt>
                <c:pt idx="642">
                  <c:v>13.9992886</c:v>
                </c:pt>
                <c:pt idx="643">
                  <c:v>15.698915399999999</c:v>
                </c:pt>
                <c:pt idx="644">
                  <c:v>17.0768059</c:v>
                </c:pt>
                <c:pt idx="645">
                  <c:v>18.466514699999998</c:v>
                </c:pt>
                <c:pt idx="646">
                  <c:v>20.124963600000001</c:v>
                </c:pt>
                <c:pt idx="647">
                  <c:v>21.961423500000002</c:v>
                </c:pt>
                <c:pt idx="648">
                  <c:v>24.489501099999998</c:v>
                </c:pt>
                <c:pt idx="649">
                  <c:v>27.602091999999999</c:v>
                </c:pt>
                <c:pt idx="650">
                  <c:v>29.700480999999996</c:v>
                </c:pt>
                <c:pt idx="651">
                  <c:v>30.847658199999998</c:v>
                </c:pt>
                <c:pt idx="652">
                  <c:v>31.608310799999998</c:v>
                </c:pt>
                <c:pt idx="653">
                  <c:v>32.249743799999997</c:v>
                </c:pt>
                <c:pt idx="654">
                  <c:v>31.738948899999997</c:v>
                </c:pt>
                <c:pt idx="655">
                  <c:v>31.912024199999998</c:v>
                </c:pt>
                <c:pt idx="656">
                  <c:v>31.635514000000001</c:v>
                </c:pt>
                <c:pt idx="657">
                  <c:v>31.4876936</c:v>
                </c:pt>
                <c:pt idx="658">
                  <c:v>32.372718999999996</c:v>
                </c:pt>
                <c:pt idx="659">
                  <c:v>33.100149799999997</c:v>
                </c:pt>
                <c:pt idx="660">
                  <c:v>34.4512444</c:v>
                </c:pt>
                <c:pt idx="661">
                  <c:v>36.381424800000005</c:v>
                </c:pt>
                <c:pt idx="662">
                  <c:v>38.380702299999996</c:v>
                </c:pt>
                <c:pt idx="663">
                  <c:v>39.819422400000001</c:v>
                </c:pt>
                <c:pt idx="664">
                  <c:v>40.6943938</c:v>
                </c:pt>
                <c:pt idx="665">
                  <c:v>40.611431699999997</c:v>
                </c:pt>
                <c:pt idx="666">
                  <c:v>40.13599</c:v>
                </c:pt>
                <c:pt idx="667">
                  <c:v>39.606701699999995</c:v>
                </c:pt>
                <c:pt idx="668">
                  <c:v>41.336855200000002</c:v>
                </c:pt>
                <c:pt idx="669">
                  <c:v>44.135157800000002</c:v>
                </c:pt>
                <c:pt idx="670">
                  <c:v>46.1292428</c:v>
                </c:pt>
                <c:pt idx="671">
                  <c:v>47.030185900000006</c:v>
                </c:pt>
                <c:pt idx="672">
                  <c:v>46.943977199999999</c:v>
                </c:pt>
                <c:pt idx="673">
                  <c:v>45.870211999999995</c:v>
                </c:pt>
                <c:pt idx="674">
                  <c:v>45.034464399999997</c:v>
                </c:pt>
                <c:pt idx="675">
                  <c:v>48.433732299999996</c:v>
                </c:pt>
                <c:pt idx="676">
                  <c:v>52.8586776</c:v>
                </c:pt>
                <c:pt idx="677">
                  <c:v>56.4180311</c:v>
                </c:pt>
                <c:pt idx="678">
                  <c:v>58.161337499999995</c:v>
                </c:pt>
                <c:pt idx="679">
                  <c:v>59.359780600000001</c:v>
                </c:pt>
                <c:pt idx="680">
                  <c:v>58.8383325</c:v>
                </c:pt>
                <c:pt idx="681">
                  <c:v>54.192311499999995</c:v>
                </c:pt>
                <c:pt idx="682">
                  <c:v>52.605820199999997</c:v>
                </c:pt>
                <c:pt idx="683">
                  <c:v>53.791309499999997</c:v>
                </c:pt>
                <c:pt idx="684">
                  <c:v>54.940431699999998</c:v>
                </c:pt>
                <c:pt idx="685">
                  <c:v>55.2772893</c:v>
                </c:pt>
                <c:pt idx="686">
                  <c:v>55.066942999999995</c:v>
                </c:pt>
                <c:pt idx="687">
                  <c:v>54.339615699999996</c:v>
                </c:pt>
                <c:pt idx="688">
                  <c:v>52.247360499999999</c:v>
                </c:pt>
                <c:pt idx="689">
                  <c:v>50.980716299999997</c:v>
                </c:pt>
                <c:pt idx="690">
                  <c:v>51.843345100000001</c:v>
                </c:pt>
                <c:pt idx="691">
                  <c:v>52.350457300000002</c:v>
                </c:pt>
                <c:pt idx="692">
                  <c:v>63.9232516</c:v>
                </c:pt>
                <c:pt idx="693">
                  <c:v>75.988633699999994</c:v>
                </c:pt>
                <c:pt idx="694">
                  <c:v>86.175509599999998</c:v>
                </c:pt>
                <c:pt idx="695">
                  <c:v>94.063223300000004</c:v>
                </c:pt>
                <c:pt idx="696">
                  <c:v>100.3363284</c:v>
                </c:pt>
                <c:pt idx="697">
                  <c:v>106.1423322</c:v>
                </c:pt>
                <c:pt idx="698">
                  <c:v>108.25144</c:v>
                </c:pt>
                <c:pt idx="699">
                  <c:v>108.4532959</c:v>
                </c:pt>
                <c:pt idx="700">
                  <c:v>107.30512569999999</c:v>
                </c:pt>
                <c:pt idx="701">
                  <c:v>108.02669399999999</c:v>
                </c:pt>
                <c:pt idx="702">
                  <c:v>110.33540070000001</c:v>
                </c:pt>
                <c:pt idx="703">
                  <c:v>112.9101526</c:v>
                </c:pt>
                <c:pt idx="704">
                  <c:v>115.3001526</c:v>
                </c:pt>
                <c:pt idx="705">
                  <c:v>113.1691567</c:v>
                </c:pt>
                <c:pt idx="706">
                  <c:v>111.3871522</c:v>
                </c:pt>
                <c:pt idx="707">
                  <c:v>111.06617610000001</c:v>
                </c:pt>
                <c:pt idx="708">
                  <c:v>111.4423434</c:v>
                </c:pt>
                <c:pt idx="709">
                  <c:v>111.90237519999999</c:v>
                </c:pt>
                <c:pt idx="710">
                  <c:v>115.37851169999999</c:v>
                </c:pt>
                <c:pt idx="711">
                  <c:v>119.28411009999999</c:v>
                </c:pt>
                <c:pt idx="712">
                  <c:v>122.78684819999999</c:v>
                </c:pt>
                <c:pt idx="713">
                  <c:v>124.5659153</c:v>
                </c:pt>
                <c:pt idx="714">
                  <c:v>125.223918</c:v>
                </c:pt>
                <c:pt idx="715">
                  <c:v>125.25039799999999</c:v>
                </c:pt>
                <c:pt idx="716">
                  <c:v>125.48196799999999</c:v>
                </c:pt>
                <c:pt idx="717">
                  <c:v>126.04245639999999</c:v>
                </c:pt>
                <c:pt idx="718">
                  <c:v>127.3046712</c:v>
                </c:pt>
                <c:pt idx="719">
                  <c:v>129.70061089999999</c:v>
                </c:pt>
                <c:pt idx="720">
                  <c:v>132.38440639999999</c:v>
                </c:pt>
                <c:pt idx="721">
                  <c:v>123.3729846</c:v>
                </c:pt>
                <c:pt idx="722">
                  <c:v>116.7582161</c:v>
                </c:pt>
                <c:pt idx="723">
                  <c:v>109.46994670000001</c:v>
                </c:pt>
                <c:pt idx="724">
                  <c:v>100.8740698</c:v>
                </c:pt>
                <c:pt idx="725">
                  <c:v>93.922119800000004</c:v>
                </c:pt>
                <c:pt idx="726">
                  <c:v>88.510784599999994</c:v>
                </c:pt>
                <c:pt idx="727">
                  <c:v>82.6534032</c:v>
                </c:pt>
                <c:pt idx="728">
                  <c:v>76.910978200000002</c:v>
                </c:pt>
                <c:pt idx="729">
                  <c:v>73.898966200000004</c:v>
                </c:pt>
                <c:pt idx="730">
                  <c:v>71.341054200000002</c:v>
                </c:pt>
                <c:pt idx="731">
                  <c:v>68.195462300000003</c:v>
                </c:pt>
                <c:pt idx="732">
                  <c:v>66.184828199999998</c:v>
                </c:pt>
                <c:pt idx="733">
                  <c:v>65.973065500000004</c:v>
                </c:pt>
                <c:pt idx="734">
                  <c:v>64.737063899999995</c:v>
                </c:pt>
                <c:pt idx="735">
                  <c:v>62.695539699999998</c:v>
                </c:pt>
                <c:pt idx="736">
                  <c:v>61.540116599999998</c:v>
                </c:pt>
                <c:pt idx="737">
                  <c:v>60.509401500000003</c:v>
                </c:pt>
                <c:pt idx="738">
                  <c:v>59.024191299999998</c:v>
                </c:pt>
                <c:pt idx="739">
                  <c:v>58.089078299999997</c:v>
                </c:pt>
                <c:pt idx="740">
                  <c:v>58.065481500000004</c:v>
                </c:pt>
                <c:pt idx="741">
                  <c:v>56.795884399999998</c:v>
                </c:pt>
                <c:pt idx="742">
                  <c:v>54.864958800000004</c:v>
                </c:pt>
                <c:pt idx="743">
                  <c:v>54.3290601</c:v>
                </c:pt>
                <c:pt idx="744">
                  <c:v>54.250086199999998</c:v>
                </c:pt>
                <c:pt idx="745">
                  <c:v>54.235219900000004</c:v>
                </c:pt>
                <c:pt idx="746">
                  <c:v>55.103309699999997</c:v>
                </c:pt>
                <c:pt idx="747">
                  <c:v>56.110607700000003</c:v>
                </c:pt>
                <c:pt idx="748">
                  <c:v>55.939468400000003</c:v>
                </c:pt>
                <c:pt idx="749">
                  <c:v>55.413449100000001</c:v>
                </c:pt>
                <c:pt idx="750">
                  <c:v>54.9175544</c:v>
                </c:pt>
                <c:pt idx="751">
                  <c:v>55.831610500000004</c:v>
                </c:pt>
                <c:pt idx="752">
                  <c:v>58.482460600000003</c:v>
                </c:pt>
                <c:pt idx="753">
                  <c:v>61.936352100000001</c:v>
                </c:pt>
                <c:pt idx="754">
                  <c:v>65.415007400000007</c:v>
                </c:pt>
                <c:pt idx="755">
                  <c:v>66.7584619</c:v>
                </c:pt>
                <c:pt idx="756">
                  <c:v>66.208127900000008</c:v>
                </c:pt>
                <c:pt idx="757">
                  <c:v>64.374918500000007</c:v>
                </c:pt>
                <c:pt idx="758">
                  <c:v>61.401742800000001</c:v>
                </c:pt>
                <c:pt idx="759">
                  <c:v>59.233297100000001</c:v>
                </c:pt>
                <c:pt idx="760">
                  <c:v>58.879762100000001</c:v>
                </c:pt>
                <c:pt idx="761">
                  <c:v>60.467930800000005</c:v>
                </c:pt>
                <c:pt idx="762">
                  <c:v>63.135057500000002</c:v>
                </c:pt>
                <c:pt idx="763">
                  <c:v>63.965703599999998</c:v>
                </c:pt>
                <c:pt idx="764">
                  <c:v>62.537033999999998</c:v>
                </c:pt>
                <c:pt idx="765">
                  <c:v>60.6377782</c:v>
                </c:pt>
                <c:pt idx="766">
                  <c:v>58.946343599999999</c:v>
                </c:pt>
                <c:pt idx="767">
                  <c:v>56.076302400000003</c:v>
                </c:pt>
                <c:pt idx="768">
                  <c:v>53.604763800000001</c:v>
                </c:pt>
                <c:pt idx="769">
                  <c:v>51.439565100000003</c:v>
                </c:pt>
                <c:pt idx="770">
                  <c:v>50.128452000000003</c:v>
                </c:pt>
                <c:pt idx="771">
                  <c:v>46.598358900000001</c:v>
                </c:pt>
                <c:pt idx="772">
                  <c:v>43.813554400000001</c:v>
                </c:pt>
                <c:pt idx="773">
                  <c:v>41.853123800000006</c:v>
                </c:pt>
                <c:pt idx="774">
                  <c:v>40.784338200000008</c:v>
                </c:pt>
                <c:pt idx="775">
                  <c:v>40.228699500000005</c:v>
                </c:pt>
                <c:pt idx="776">
                  <c:v>39.424888000000003</c:v>
                </c:pt>
                <c:pt idx="777">
                  <c:v>38.3556472</c:v>
                </c:pt>
                <c:pt idx="778">
                  <c:v>37.280210600000004</c:v>
                </c:pt>
                <c:pt idx="779">
                  <c:v>36.067443700000005</c:v>
                </c:pt>
                <c:pt idx="780">
                  <c:v>34.628776299999998</c:v>
                </c:pt>
                <c:pt idx="781">
                  <c:v>33.560386100000002</c:v>
                </c:pt>
                <c:pt idx="782">
                  <c:v>34.109072099999999</c:v>
                </c:pt>
                <c:pt idx="783">
                  <c:v>34.778773199999996</c:v>
                </c:pt>
                <c:pt idx="784">
                  <c:v>35.153958199999998</c:v>
                </c:pt>
                <c:pt idx="785">
                  <c:v>35.219779600000003</c:v>
                </c:pt>
                <c:pt idx="786">
                  <c:v>36.070800699999999</c:v>
                </c:pt>
                <c:pt idx="787">
                  <c:v>35.782395600000001</c:v>
                </c:pt>
                <c:pt idx="788">
                  <c:v>36.177056100000001</c:v>
                </c:pt>
                <c:pt idx="789">
                  <c:v>36.775730500000002</c:v>
                </c:pt>
                <c:pt idx="790">
                  <c:v>37.012768700000002</c:v>
                </c:pt>
                <c:pt idx="791">
                  <c:v>30.6968809</c:v>
                </c:pt>
                <c:pt idx="792">
                  <c:v>22.5378808</c:v>
                </c:pt>
                <c:pt idx="793">
                  <c:v>15.4835247</c:v>
                </c:pt>
                <c:pt idx="794">
                  <c:v>10.197730399999999</c:v>
                </c:pt>
                <c:pt idx="795">
                  <c:v>6.5206026000000001</c:v>
                </c:pt>
                <c:pt idx="796">
                  <c:v>4.0825719999999999</c:v>
                </c:pt>
                <c:pt idx="797">
                  <c:v>2.5084341999999999</c:v>
                </c:pt>
                <c:pt idx="798">
                  <c:v>1.5168173</c:v>
                </c:pt>
                <c:pt idx="799">
                  <c:v>0.90263280000000001</c:v>
                </c:pt>
                <c:pt idx="800">
                  <c:v>0.52723390000000003</c:v>
                </c:pt>
                <c:pt idx="801">
                  <c:v>0.29827409999999999</c:v>
                </c:pt>
                <c:pt idx="802">
                  <c:v>0.16329250000000001</c:v>
                </c:pt>
                <c:pt idx="803">
                  <c:v>8.0964599999999998E-2</c:v>
                </c:pt>
                <c:pt idx="804">
                  <c:v>3.20790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F80-4D44-B5FB-C7344E7BB008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Other Base</c:v>
                </c:pt>
              </c:strCache>
            </c:strRef>
          </c:tx>
          <c:spPr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c:spPr>
          <c:invertIfNegative val="0"/>
          <c:cat>
            <c:numRef>
              <c:f>Sheet1!$A$2:$A$864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D$2:$D$864</c:f>
              <c:numCache>
                <c:formatCode>#,##0</c:formatCode>
                <c:ptCount val="805"/>
                <c:pt idx="0">
                  <c:v>326.02215999999999</c:v>
                </c:pt>
                <c:pt idx="1">
                  <c:v>0</c:v>
                </c:pt>
                <c:pt idx="2">
                  <c:v>46.026657899999996</c:v>
                </c:pt>
                <c:pt idx="3">
                  <c:v>1547.0650848</c:v>
                </c:pt>
                <c:pt idx="4">
                  <c:v>3677.1074138999998</c:v>
                </c:pt>
                <c:pt idx="5">
                  <c:v>1860.2267098</c:v>
                </c:pt>
                <c:pt idx="6">
                  <c:v>-450.12215650000002</c:v>
                </c:pt>
                <c:pt idx="7">
                  <c:v>21.095551499999999</c:v>
                </c:pt>
                <c:pt idx="8">
                  <c:v>70.9577642</c:v>
                </c:pt>
                <c:pt idx="9">
                  <c:v>70.9577642</c:v>
                </c:pt>
                <c:pt idx="10">
                  <c:v>1547.0650848</c:v>
                </c:pt>
                <c:pt idx="11">
                  <c:v>3669.4363042999998</c:v>
                </c:pt>
                <c:pt idx="12">
                  <c:v>1848.7200453</c:v>
                </c:pt>
                <c:pt idx="13">
                  <c:v>-423.27327270000001</c:v>
                </c:pt>
                <c:pt idx="14">
                  <c:v>26.848883799999999</c:v>
                </c:pt>
                <c:pt idx="15">
                  <c:v>0</c:v>
                </c:pt>
                <c:pt idx="16">
                  <c:v>0</c:v>
                </c:pt>
                <c:pt idx="17">
                  <c:v>1547.0650848</c:v>
                </c:pt>
                <c:pt idx="18">
                  <c:v>3669.4363042999998</c:v>
                </c:pt>
                <c:pt idx="19">
                  <c:v>1848.7200453</c:v>
                </c:pt>
                <c:pt idx="20">
                  <c:v>-450.1221565000000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547.0650848</c:v>
                </c:pt>
                <c:pt idx="25">
                  <c:v>3713.5451847999998</c:v>
                </c:pt>
                <c:pt idx="26">
                  <c:v>1867.8978194000001</c:v>
                </c:pt>
                <c:pt idx="27">
                  <c:v>-450.12215650000002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1547.0650848</c:v>
                </c:pt>
                <c:pt idx="32">
                  <c:v>3675.1896364999998</c:v>
                </c:pt>
                <c:pt idx="33">
                  <c:v>1848.7200453</c:v>
                </c:pt>
                <c:pt idx="34">
                  <c:v>-450.12215650000002</c:v>
                </c:pt>
                <c:pt idx="35">
                  <c:v>0</c:v>
                </c:pt>
                <c:pt idx="36">
                  <c:v>28.766661200000001</c:v>
                </c:pt>
                <c:pt idx="37">
                  <c:v>0</c:v>
                </c:pt>
                <c:pt idx="38">
                  <c:v>1713.9117196</c:v>
                </c:pt>
                <c:pt idx="39">
                  <c:v>3669.4363042999998</c:v>
                </c:pt>
                <c:pt idx="40">
                  <c:v>1848.7200453</c:v>
                </c:pt>
                <c:pt idx="41">
                  <c:v>-450.12215650000002</c:v>
                </c:pt>
                <c:pt idx="42">
                  <c:v>7.6711096000000003</c:v>
                </c:pt>
                <c:pt idx="43">
                  <c:v>0</c:v>
                </c:pt>
                <c:pt idx="44">
                  <c:v>36.437770800000003</c:v>
                </c:pt>
                <c:pt idx="45">
                  <c:v>1685.1450585</c:v>
                </c:pt>
                <c:pt idx="46">
                  <c:v>3673.2718590999998</c:v>
                </c:pt>
                <c:pt idx="47">
                  <c:v>1848.7200453</c:v>
                </c:pt>
                <c:pt idx="48">
                  <c:v>-450.12215650000002</c:v>
                </c:pt>
                <c:pt idx="49">
                  <c:v>36.437770800000003</c:v>
                </c:pt>
                <c:pt idx="50">
                  <c:v>0</c:v>
                </c:pt>
                <c:pt idx="51">
                  <c:v>0</c:v>
                </c:pt>
                <c:pt idx="52">
                  <c:v>1547.0650848</c:v>
                </c:pt>
                <c:pt idx="53">
                  <c:v>3669.4363042999998</c:v>
                </c:pt>
                <c:pt idx="54">
                  <c:v>1850.6378227</c:v>
                </c:pt>
                <c:pt idx="55">
                  <c:v>-448.20437910000004</c:v>
                </c:pt>
                <c:pt idx="56">
                  <c:v>0</c:v>
                </c:pt>
                <c:pt idx="57">
                  <c:v>11.506664499999999</c:v>
                </c:pt>
                <c:pt idx="58">
                  <c:v>30.6844386</c:v>
                </c:pt>
                <c:pt idx="59">
                  <c:v>1564.3250815000001</c:v>
                </c:pt>
                <c:pt idx="60">
                  <c:v>3682.8607462</c:v>
                </c:pt>
                <c:pt idx="61">
                  <c:v>1848.7200453</c:v>
                </c:pt>
                <c:pt idx="62">
                  <c:v>-436.69771460000004</c:v>
                </c:pt>
                <c:pt idx="63">
                  <c:v>30.6844386</c:v>
                </c:pt>
                <c:pt idx="64">
                  <c:v>82.464428699999999</c:v>
                </c:pt>
                <c:pt idx="65">
                  <c:v>0</c:v>
                </c:pt>
                <c:pt idx="66">
                  <c:v>1600.7628523000001</c:v>
                </c:pt>
                <c:pt idx="67">
                  <c:v>3679.0251914</c:v>
                </c:pt>
                <c:pt idx="68">
                  <c:v>1894.7467032</c:v>
                </c:pt>
                <c:pt idx="69">
                  <c:v>-444.36882430000003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1547.0650848</c:v>
                </c:pt>
                <c:pt idx="74">
                  <c:v>3669.4363042999998</c:v>
                </c:pt>
                <c:pt idx="75">
                  <c:v>2649.2567226000001</c:v>
                </c:pt>
                <c:pt idx="76">
                  <c:v>350.41452079999993</c:v>
                </c:pt>
                <c:pt idx="77">
                  <c:v>3.8355548000000002</c:v>
                </c:pt>
                <c:pt idx="78">
                  <c:v>0</c:v>
                </c:pt>
                <c:pt idx="79">
                  <c:v>0</c:v>
                </c:pt>
                <c:pt idx="80">
                  <c:v>1547.0650848</c:v>
                </c:pt>
                <c:pt idx="81">
                  <c:v>3669.4363042999998</c:v>
                </c:pt>
                <c:pt idx="82">
                  <c:v>1848.7200453</c:v>
                </c:pt>
                <c:pt idx="83">
                  <c:v>-450.12215650000002</c:v>
                </c:pt>
                <c:pt idx="84">
                  <c:v>69.039986799999994</c:v>
                </c:pt>
                <c:pt idx="85">
                  <c:v>0</c:v>
                </c:pt>
                <c:pt idx="86">
                  <c:v>0</c:v>
                </c:pt>
                <c:pt idx="87">
                  <c:v>1547.0650848</c:v>
                </c:pt>
                <c:pt idx="88">
                  <c:v>3669.4363042999998</c:v>
                </c:pt>
                <c:pt idx="89">
                  <c:v>1848.7200453</c:v>
                </c:pt>
                <c:pt idx="90">
                  <c:v>-450.12215650000002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1547.0650848</c:v>
                </c:pt>
                <c:pt idx="95">
                  <c:v>3669.4363042999998</c:v>
                </c:pt>
                <c:pt idx="96">
                  <c:v>1850.6378227</c:v>
                </c:pt>
                <c:pt idx="97">
                  <c:v>-444.36882430000003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1547.0650848</c:v>
                </c:pt>
                <c:pt idx="102">
                  <c:v>3671.3540816999998</c:v>
                </c:pt>
                <c:pt idx="103">
                  <c:v>1864.0622645999999</c:v>
                </c:pt>
                <c:pt idx="104">
                  <c:v>-269.85107979999998</c:v>
                </c:pt>
                <c:pt idx="105">
                  <c:v>120.81997699999999</c:v>
                </c:pt>
                <c:pt idx="106">
                  <c:v>34.519993399999997</c:v>
                </c:pt>
                <c:pt idx="107">
                  <c:v>7.6711096000000003</c:v>
                </c:pt>
                <c:pt idx="108">
                  <c:v>1558.5717493</c:v>
                </c:pt>
                <c:pt idx="109">
                  <c:v>3713.5451847999998</c:v>
                </c:pt>
                <c:pt idx="110">
                  <c:v>1890.9111484</c:v>
                </c:pt>
                <c:pt idx="111">
                  <c:v>-381.08216970000001</c:v>
                </c:pt>
                <c:pt idx="112">
                  <c:v>90.135538400000002</c:v>
                </c:pt>
                <c:pt idx="113">
                  <c:v>0</c:v>
                </c:pt>
                <c:pt idx="114">
                  <c:v>17.259996699999999</c:v>
                </c:pt>
                <c:pt idx="115">
                  <c:v>1550.9006396</c:v>
                </c:pt>
                <c:pt idx="116">
                  <c:v>3822.8584972999997</c:v>
                </c:pt>
                <c:pt idx="117">
                  <c:v>1858.3089324</c:v>
                </c:pt>
                <c:pt idx="118">
                  <c:v>-432.86215980000003</c:v>
                </c:pt>
                <c:pt idx="119">
                  <c:v>32.602215999999999</c:v>
                </c:pt>
                <c:pt idx="120">
                  <c:v>1.9177774000000001</c:v>
                </c:pt>
                <c:pt idx="121">
                  <c:v>34.519993399999997</c:v>
                </c:pt>
                <c:pt idx="122">
                  <c:v>1614.1872942</c:v>
                </c:pt>
                <c:pt idx="123">
                  <c:v>3788.3385037999997</c:v>
                </c:pt>
                <c:pt idx="124">
                  <c:v>1887.0755935</c:v>
                </c:pt>
                <c:pt idx="125">
                  <c:v>-415.60216310000004</c:v>
                </c:pt>
                <c:pt idx="126">
                  <c:v>7.6711096000000003</c:v>
                </c:pt>
                <c:pt idx="127">
                  <c:v>0</c:v>
                </c:pt>
                <c:pt idx="128">
                  <c:v>97.806647999999996</c:v>
                </c:pt>
                <c:pt idx="129">
                  <c:v>1570.0784137000001</c:v>
                </c:pt>
                <c:pt idx="130">
                  <c:v>3675.1896364999998</c:v>
                </c:pt>
                <c:pt idx="131">
                  <c:v>1850.6378227</c:v>
                </c:pt>
                <c:pt idx="132">
                  <c:v>-446.28660170000001</c:v>
                </c:pt>
                <c:pt idx="133">
                  <c:v>0</c:v>
                </c:pt>
                <c:pt idx="134">
                  <c:v>1.9177774000000001</c:v>
                </c:pt>
                <c:pt idx="135">
                  <c:v>53.697767499999998</c:v>
                </c:pt>
                <c:pt idx="136">
                  <c:v>1550.9006396</c:v>
                </c:pt>
                <c:pt idx="137">
                  <c:v>3709.7096299999998</c:v>
                </c:pt>
                <c:pt idx="138">
                  <c:v>1848.7200453</c:v>
                </c:pt>
                <c:pt idx="139">
                  <c:v>-450.12215650000002</c:v>
                </c:pt>
                <c:pt idx="140">
                  <c:v>0</c:v>
                </c:pt>
                <c:pt idx="141">
                  <c:v>0</c:v>
                </c:pt>
                <c:pt idx="142">
                  <c:v>1343.1297276</c:v>
                </c:pt>
                <c:pt idx="143">
                  <c:v>3993.1136783000002</c:v>
                </c:pt>
                <c:pt idx="144">
                  <c:v>6142.3337816000003</c:v>
                </c:pt>
                <c:pt idx="145">
                  <c:v>4300.5219710000001</c:v>
                </c:pt>
                <c:pt idx="146">
                  <c:v>-450.12215650000002</c:v>
                </c:pt>
                <c:pt idx="147">
                  <c:v>1046.5776108</c:v>
                </c:pt>
                <c:pt idx="148">
                  <c:v>88.217760900000002</c:v>
                </c:pt>
                <c:pt idx="149">
                  <c:v>0</c:v>
                </c:pt>
                <c:pt idx="150">
                  <c:v>1548.9828622</c:v>
                </c:pt>
                <c:pt idx="151">
                  <c:v>3788.3385037999997</c:v>
                </c:pt>
                <c:pt idx="152">
                  <c:v>1871.7333742000001</c:v>
                </c:pt>
                <c:pt idx="153">
                  <c:v>-450.12215650000002</c:v>
                </c:pt>
                <c:pt idx="154">
                  <c:v>17.259996699999999</c:v>
                </c:pt>
                <c:pt idx="155">
                  <c:v>164.9288574</c:v>
                </c:pt>
                <c:pt idx="156">
                  <c:v>1.9177774000000001</c:v>
                </c:pt>
                <c:pt idx="157">
                  <c:v>1562.4073040999999</c:v>
                </c:pt>
                <c:pt idx="158">
                  <c:v>3669.4363042999998</c:v>
                </c:pt>
                <c:pt idx="159">
                  <c:v>1848.7200453</c:v>
                </c:pt>
                <c:pt idx="160">
                  <c:v>-450.12215650000002</c:v>
                </c:pt>
                <c:pt idx="161">
                  <c:v>0</c:v>
                </c:pt>
                <c:pt idx="162">
                  <c:v>0</c:v>
                </c:pt>
                <c:pt idx="163">
                  <c:v>40.273325700000001</c:v>
                </c:pt>
                <c:pt idx="164">
                  <c:v>1556.6539719</c:v>
                </c:pt>
                <c:pt idx="165">
                  <c:v>3702.0385202999996</c:v>
                </c:pt>
                <c:pt idx="166">
                  <c:v>1848.7200453</c:v>
                </c:pt>
                <c:pt idx="167">
                  <c:v>-430.94438239999999</c:v>
                </c:pt>
                <c:pt idx="168">
                  <c:v>49.862212700000001</c:v>
                </c:pt>
                <c:pt idx="169">
                  <c:v>28.766661200000001</c:v>
                </c:pt>
                <c:pt idx="170">
                  <c:v>19.177774100000001</c:v>
                </c:pt>
                <c:pt idx="171">
                  <c:v>1548.9828622</c:v>
                </c:pt>
                <c:pt idx="172">
                  <c:v>3669.4363042999998</c:v>
                </c:pt>
                <c:pt idx="173">
                  <c:v>1848.7200453</c:v>
                </c:pt>
                <c:pt idx="174">
                  <c:v>-448.20437910000004</c:v>
                </c:pt>
                <c:pt idx="175">
                  <c:v>0</c:v>
                </c:pt>
                <c:pt idx="176">
                  <c:v>1.9177774000000001</c:v>
                </c:pt>
                <c:pt idx="177">
                  <c:v>36.437770800000003</c:v>
                </c:pt>
                <c:pt idx="178">
                  <c:v>1548.9828622</c:v>
                </c:pt>
                <c:pt idx="179">
                  <c:v>3688.6140783999999</c:v>
                </c:pt>
                <c:pt idx="180">
                  <c:v>1848.7200453</c:v>
                </c:pt>
                <c:pt idx="181">
                  <c:v>-450.12215650000002</c:v>
                </c:pt>
                <c:pt idx="182">
                  <c:v>34.519993399999997</c:v>
                </c:pt>
                <c:pt idx="183">
                  <c:v>1.9177774000000001</c:v>
                </c:pt>
                <c:pt idx="184">
                  <c:v>105.4777577</c:v>
                </c:pt>
                <c:pt idx="185">
                  <c:v>3973.7692724000003</c:v>
                </c:pt>
                <c:pt idx="186">
                  <c:v>6180.5226980000007</c:v>
                </c:pt>
                <c:pt idx="187">
                  <c:v>4336.7931101000004</c:v>
                </c:pt>
                <c:pt idx="188">
                  <c:v>-407.9310534</c:v>
                </c:pt>
                <c:pt idx="189">
                  <c:v>13.4244419</c:v>
                </c:pt>
                <c:pt idx="190">
                  <c:v>86.299983499999996</c:v>
                </c:pt>
                <c:pt idx="191">
                  <c:v>124.65553180000001</c:v>
                </c:pt>
                <c:pt idx="192">
                  <c:v>4031.3025948000004</c:v>
                </c:pt>
                <c:pt idx="193">
                  <c:v>6146.0027045999996</c:v>
                </c:pt>
                <c:pt idx="194">
                  <c:v>4256.2464588000003</c:v>
                </c:pt>
                <c:pt idx="195">
                  <c:v>-438.61549200000002</c:v>
                </c:pt>
                <c:pt idx="196">
                  <c:v>1.9177774000000001</c:v>
                </c:pt>
                <c:pt idx="197">
                  <c:v>5985.5193251999999</c:v>
                </c:pt>
                <c:pt idx="198">
                  <c:v>1060.0020527000001</c:v>
                </c:pt>
                <c:pt idx="199">
                  <c:v>1547.0650848</c:v>
                </c:pt>
                <c:pt idx="200">
                  <c:v>3669.4363042999998</c:v>
                </c:pt>
                <c:pt idx="201">
                  <c:v>1848.7200453</c:v>
                </c:pt>
                <c:pt idx="202">
                  <c:v>-450.12215650000002</c:v>
                </c:pt>
                <c:pt idx="203">
                  <c:v>6720.5596427</c:v>
                </c:pt>
                <c:pt idx="204">
                  <c:v>6720.5596427</c:v>
                </c:pt>
                <c:pt idx="205">
                  <c:v>0</c:v>
                </c:pt>
                <c:pt idx="206">
                  <c:v>1561.4484153999999</c:v>
                </c:pt>
                <c:pt idx="207">
                  <c:v>3674.2307477999998</c:v>
                </c:pt>
                <c:pt idx="208">
                  <c:v>1848.7200453</c:v>
                </c:pt>
                <c:pt idx="209">
                  <c:v>-450.12215650000002</c:v>
                </c:pt>
                <c:pt idx="210">
                  <c:v>7.6711096000000003</c:v>
                </c:pt>
                <c:pt idx="211">
                  <c:v>2.8766661</c:v>
                </c:pt>
                <c:pt idx="212">
                  <c:v>9.5888871000000009</c:v>
                </c:pt>
                <c:pt idx="213">
                  <c:v>1588.2972992</c:v>
                </c:pt>
                <c:pt idx="214">
                  <c:v>3669.4363042999998</c:v>
                </c:pt>
                <c:pt idx="215">
                  <c:v>1853.5144888</c:v>
                </c:pt>
                <c:pt idx="216">
                  <c:v>-447.24549039999999</c:v>
                </c:pt>
                <c:pt idx="217">
                  <c:v>58.492211099999999</c:v>
                </c:pt>
                <c:pt idx="218">
                  <c:v>94.929981900000001</c:v>
                </c:pt>
                <c:pt idx="219">
                  <c:v>28.766661200000001</c:v>
                </c:pt>
                <c:pt idx="220">
                  <c:v>1591.1739653</c:v>
                </c:pt>
                <c:pt idx="221">
                  <c:v>3679.0251914</c:v>
                </c:pt>
                <c:pt idx="222">
                  <c:v>1848.7200453</c:v>
                </c:pt>
                <c:pt idx="223">
                  <c:v>-447.24549039999999</c:v>
                </c:pt>
                <c:pt idx="224">
                  <c:v>0</c:v>
                </c:pt>
                <c:pt idx="225">
                  <c:v>0</c:v>
                </c:pt>
                <c:pt idx="226">
                  <c:v>2.8766661</c:v>
                </c:pt>
                <c:pt idx="227">
                  <c:v>1547.0650848</c:v>
                </c:pt>
                <c:pt idx="228">
                  <c:v>3669.4363042999998</c:v>
                </c:pt>
                <c:pt idx="229">
                  <c:v>1851.5967114</c:v>
                </c:pt>
                <c:pt idx="230">
                  <c:v>-423.27327270000001</c:v>
                </c:pt>
                <c:pt idx="231">
                  <c:v>85.341094799999993</c:v>
                </c:pt>
                <c:pt idx="232">
                  <c:v>0</c:v>
                </c:pt>
                <c:pt idx="233">
                  <c:v>0</c:v>
                </c:pt>
                <c:pt idx="234">
                  <c:v>1549.9417509</c:v>
                </c:pt>
                <c:pt idx="235">
                  <c:v>3683.8196349</c:v>
                </c:pt>
                <c:pt idx="236">
                  <c:v>1924.4722531</c:v>
                </c:pt>
                <c:pt idx="237">
                  <c:v>-445.32771300000002</c:v>
                </c:pt>
                <c:pt idx="238">
                  <c:v>2.8766661</c:v>
                </c:pt>
                <c:pt idx="239">
                  <c:v>0</c:v>
                </c:pt>
                <c:pt idx="240">
                  <c:v>0</c:v>
                </c:pt>
                <c:pt idx="241">
                  <c:v>1547.0650848</c:v>
                </c:pt>
                <c:pt idx="242">
                  <c:v>3683.8196349</c:v>
                </c:pt>
                <c:pt idx="243">
                  <c:v>1848.7200453</c:v>
                </c:pt>
                <c:pt idx="244">
                  <c:v>-328.34329080000003</c:v>
                </c:pt>
                <c:pt idx="245">
                  <c:v>34.519993399999997</c:v>
                </c:pt>
                <c:pt idx="246">
                  <c:v>0</c:v>
                </c:pt>
                <c:pt idx="247">
                  <c:v>99.724425400000001</c:v>
                </c:pt>
                <c:pt idx="248">
                  <c:v>2596.5193617</c:v>
                </c:pt>
                <c:pt idx="249">
                  <c:v>3701.0796315999996</c:v>
                </c:pt>
                <c:pt idx="250">
                  <c:v>1926.3900305</c:v>
                </c:pt>
                <c:pt idx="251">
                  <c:v>-328.34329080000003</c:v>
                </c:pt>
                <c:pt idx="252">
                  <c:v>2.8766661</c:v>
                </c:pt>
                <c:pt idx="253">
                  <c:v>22.054440199999998</c:v>
                </c:pt>
                <c:pt idx="254">
                  <c:v>12.4655532</c:v>
                </c:pt>
                <c:pt idx="255">
                  <c:v>1593.0917426999999</c:v>
                </c:pt>
                <c:pt idx="256">
                  <c:v>3669.4363042999998</c:v>
                </c:pt>
                <c:pt idx="257">
                  <c:v>1853.5144888</c:v>
                </c:pt>
                <c:pt idx="258">
                  <c:v>-418.47882920000001</c:v>
                </c:pt>
                <c:pt idx="259">
                  <c:v>22.054440199999998</c:v>
                </c:pt>
                <c:pt idx="260">
                  <c:v>9.5888871000000009</c:v>
                </c:pt>
                <c:pt idx="261">
                  <c:v>36.437770800000003</c:v>
                </c:pt>
                <c:pt idx="262">
                  <c:v>1595.9684087999999</c:v>
                </c:pt>
                <c:pt idx="263">
                  <c:v>3723.1340717999997</c:v>
                </c:pt>
                <c:pt idx="264">
                  <c:v>1916.8011434</c:v>
                </c:pt>
                <c:pt idx="265">
                  <c:v>-401.21883250000002</c:v>
                </c:pt>
                <c:pt idx="266">
                  <c:v>2.8766661</c:v>
                </c:pt>
                <c:pt idx="267">
                  <c:v>7.6711096000000003</c:v>
                </c:pt>
                <c:pt idx="268">
                  <c:v>53.697767499999998</c:v>
                </c:pt>
                <c:pt idx="269">
                  <c:v>1644.8717328</c:v>
                </c:pt>
                <c:pt idx="270">
                  <c:v>3669.4363042999998</c:v>
                </c:pt>
                <c:pt idx="271">
                  <c:v>1853.5144888</c:v>
                </c:pt>
                <c:pt idx="272">
                  <c:v>-428.06771630000003</c:v>
                </c:pt>
                <c:pt idx="273">
                  <c:v>72.875541699999999</c:v>
                </c:pt>
                <c:pt idx="274">
                  <c:v>0</c:v>
                </c:pt>
                <c:pt idx="275">
                  <c:v>17.259996699999999</c:v>
                </c:pt>
                <c:pt idx="276">
                  <c:v>1561.4484153999999</c:v>
                </c:pt>
                <c:pt idx="277">
                  <c:v>3696.2851880999997</c:v>
                </c:pt>
                <c:pt idx="278">
                  <c:v>1856.3911548999999</c:v>
                </c:pt>
                <c:pt idx="279">
                  <c:v>22.054440199999998</c:v>
                </c:pt>
                <c:pt idx="280">
                  <c:v>0</c:v>
                </c:pt>
                <c:pt idx="281">
                  <c:v>0</c:v>
                </c:pt>
                <c:pt idx="282">
                  <c:v>7.6711096000000003</c:v>
                </c:pt>
                <c:pt idx="283">
                  <c:v>7.6711096000000003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4.7944434999999999</c:v>
                </c:pt>
                <c:pt idx="301">
                  <c:v>2.8766661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153.42219299999999</c:v>
                </c:pt>
                <c:pt idx="313">
                  <c:v>9.5888871000000009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31.643327299999999</c:v>
                </c:pt>
                <c:pt idx="323">
                  <c:v>109.31331249999999</c:v>
                </c:pt>
                <c:pt idx="324">
                  <c:v>17.259996699999999</c:v>
                </c:pt>
                <c:pt idx="325">
                  <c:v>41.232214399999997</c:v>
                </c:pt>
                <c:pt idx="326">
                  <c:v>2.8766661</c:v>
                </c:pt>
                <c:pt idx="327">
                  <c:v>0</c:v>
                </c:pt>
                <c:pt idx="328">
                  <c:v>2.8766661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14.383330600000001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4.7944434999999999</c:v>
                </c:pt>
                <c:pt idx="360">
                  <c:v>0</c:v>
                </c:pt>
                <c:pt idx="361">
                  <c:v>14.383330600000001</c:v>
                </c:pt>
                <c:pt idx="362">
                  <c:v>94.929981900000001</c:v>
                </c:pt>
                <c:pt idx="363">
                  <c:v>19.177774100000001</c:v>
                </c:pt>
                <c:pt idx="364">
                  <c:v>0</c:v>
                </c:pt>
                <c:pt idx="365">
                  <c:v>0</c:v>
                </c:pt>
                <c:pt idx="366">
                  <c:v>48.903323999999998</c:v>
                </c:pt>
                <c:pt idx="367">
                  <c:v>7.6711096000000003</c:v>
                </c:pt>
                <c:pt idx="368">
                  <c:v>22.054440199999998</c:v>
                </c:pt>
                <c:pt idx="369">
                  <c:v>14.383330600000001</c:v>
                </c:pt>
                <c:pt idx="370">
                  <c:v>0</c:v>
                </c:pt>
                <c:pt idx="371">
                  <c:v>9.5888871000000009</c:v>
                </c:pt>
                <c:pt idx="372">
                  <c:v>2.8766661</c:v>
                </c:pt>
                <c:pt idx="373">
                  <c:v>107.3955351</c:v>
                </c:pt>
                <c:pt idx="374">
                  <c:v>94.929981900000001</c:v>
                </c:pt>
                <c:pt idx="375">
                  <c:v>4.7944434999999999</c:v>
                </c:pt>
                <c:pt idx="376">
                  <c:v>4.7944434999999999</c:v>
                </c:pt>
                <c:pt idx="377">
                  <c:v>4.7944434999999999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31.643327299999999</c:v>
                </c:pt>
                <c:pt idx="383">
                  <c:v>7.6711096000000003</c:v>
                </c:pt>
                <c:pt idx="384">
                  <c:v>17.259996699999999</c:v>
                </c:pt>
                <c:pt idx="385">
                  <c:v>0</c:v>
                </c:pt>
                <c:pt idx="386">
                  <c:v>4.7944434999999999</c:v>
                </c:pt>
                <c:pt idx="387">
                  <c:v>19.177774100000001</c:v>
                </c:pt>
                <c:pt idx="388">
                  <c:v>22.054440199999998</c:v>
                </c:pt>
                <c:pt idx="389">
                  <c:v>28.766661200000001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75.752207799999994</c:v>
                </c:pt>
                <c:pt idx="394">
                  <c:v>23.9722176</c:v>
                </c:pt>
                <c:pt idx="395">
                  <c:v>26.848883799999999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12.4655532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2.8766661</c:v>
                </c:pt>
                <c:pt idx="405">
                  <c:v>4.7944434999999999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72.875541699999999</c:v>
                </c:pt>
                <c:pt idx="412">
                  <c:v>23.9722176</c:v>
                </c:pt>
                <c:pt idx="413">
                  <c:v>22.054440199999998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4.7944434999999999</c:v>
                </c:pt>
                <c:pt idx="430">
                  <c:v>26.848883799999999</c:v>
                </c:pt>
                <c:pt idx="431">
                  <c:v>7.6711096000000003</c:v>
                </c:pt>
                <c:pt idx="432">
                  <c:v>0</c:v>
                </c:pt>
                <c:pt idx="433">
                  <c:v>7.6711096000000003</c:v>
                </c:pt>
                <c:pt idx="434">
                  <c:v>31.643327299999999</c:v>
                </c:pt>
                <c:pt idx="435">
                  <c:v>31.643327299999999</c:v>
                </c:pt>
                <c:pt idx="436">
                  <c:v>126.5733092</c:v>
                </c:pt>
                <c:pt idx="437">
                  <c:v>0</c:v>
                </c:pt>
                <c:pt idx="438">
                  <c:v>0</c:v>
                </c:pt>
                <c:pt idx="439">
                  <c:v>2.8766661</c:v>
                </c:pt>
                <c:pt idx="440">
                  <c:v>0</c:v>
                </c:pt>
                <c:pt idx="441">
                  <c:v>109.31331249999999</c:v>
                </c:pt>
                <c:pt idx="442">
                  <c:v>28.766661200000001</c:v>
                </c:pt>
                <c:pt idx="443">
                  <c:v>0</c:v>
                </c:pt>
                <c:pt idx="444">
                  <c:v>112.1899786</c:v>
                </c:pt>
                <c:pt idx="445">
                  <c:v>66.1633207</c:v>
                </c:pt>
                <c:pt idx="446">
                  <c:v>4.7944434999999999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9.5888871000000009</c:v>
                </c:pt>
                <c:pt idx="451">
                  <c:v>14.383330600000001</c:v>
                </c:pt>
                <c:pt idx="452">
                  <c:v>4.7944434999999999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2.8766661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9.5888871000000009</c:v>
                </c:pt>
                <c:pt idx="471">
                  <c:v>68.081098100000006</c:v>
                </c:pt>
                <c:pt idx="472">
                  <c:v>31.643327299999999</c:v>
                </c:pt>
                <c:pt idx="473">
                  <c:v>2.8766661</c:v>
                </c:pt>
                <c:pt idx="474">
                  <c:v>0</c:v>
                </c:pt>
                <c:pt idx="475">
                  <c:v>0</c:v>
                </c:pt>
                <c:pt idx="476">
                  <c:v>17.259996699999999</c:v>
                </c:pt>
                <c:pt idx="477">
                  <c:v>2.8766661</c:v>
                </c:pt>
                <c:pt idx="478">
                  <c:v>31.643327299999999</c:v>
                </c:pt>
                <c:pt idx="479">
                  <c:v>34.519993399999997</c:v>
                </c:pt>
                <c:pt idx="480">
                  <c:v>287.6666118</c:v>
                </c:pt>
                <c:pt idx="481">
                  <c:v>292.4610553</c:v>
                </c:pt>
                <c:pt idx="482">
                  <c:v>48.903323999999998</c:v>
                </c:pt>
                <c:pt idx="483">
                  <c:v>31.643327299999999</c:v>
                </c:pt>
                <c:pt idx="484">
                  <c:v>0</c:v>
                </c:pt>
                <c:pt idx="485">
                  <c:v>34.519993399999997</c:v>
                </c:pt>
                <c:pt idx="486">
                  <c:v>4.7944434999999999</c:v>
                </c:pt>
                <c:pt idx="487">
                  <c:v>17.259996699999999</c:v>
                </c:pt>
                <c:pt idx="488">
                  <c:v>0</c:v>
                </c:pt>
                <c:pt idx="489">
                  <c:v>0</c:v>
                </c:pt>
                <c:pt idx="490">
                  <c:v>36.437770800000003</c:v>
                </c:pt>
                <c:pt idx="491">
                  <c:v>22.054440199999998</c:v>
                </c:pt>
                <c:pt idx="492">
                  <c:v>17.259996699999999</c:v>
                </c:pt>
                <c:pt idx="493">
                  <c:v>9.5888871000000009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14.383330600000001</c:v>
                </c:pt>
                <c:pt idx="498">
                  <c:v>41.232214399999997</c:v>
                </c:pt>
                <c:pt idx="499">
                  <c:v>129.44997530000001</c:v>
                </c:pt>
                <c:pt idx="500">
                  <c:v>0</c:v>
                </c:pt>
                <c:pt idx="501">
                  <c:v>0</c:v>
                </c:pt>
                <c:pt idx="502">
                  <c:v>199.4488508</c:v>
                </c:pt>
                <c:pt idx="503">
                  <c:v>7.6711096000000003</c:v>
                </c:pt>
                <c:pt idx="504">
                  <c:v>4.7944434999999999</c:v>
                </c:pt>
                <c:pt idx="505">
                  <c:v>12.4655532</c:v>
                </c:pt>
                <c:pt idx="506">
                  <c:v>17.259996699999999</c:v>
                </c:pt>
                <c:pt idx="507">
                  <c:v>31.643327299999999</c:v>
                </c:pt>
                <c:pt idx="508">
                  <c:v>2.8766661</c:v>
                </c:pt>
                <c:pt idx="509">
                  <c:v>68.081098100000006</c:v>
                </c:pt>
                <c:pt idx="510">
                  <c:v>4.7944434999999999</c:v>
                </c:pt>
                <c:pt idx="511">
                  <c:v>31.643327299999999</c:v>
                </c:pt>
                <c:pt idx="512">
                  <c:v>22.054440199999998</c:v>
                </c:pt>
                <c:pt idx="513">
                  <c:v>0</c:v>
                </c:pt>
                <c:pt idx="514">
                  <c:v>2.8766661</c:v>
                </c:pt>
                <c:pt idx="515">
                  <c:v>2.8766661</c:v>
                </c:pt>
                <c:pt idx="516">
                  <c:v>2.8766661</c:v>
                </c:pt>
                <c:pt idx="517">
                  <c:v>19.177774100000001</c:v>
                </c:pt>
                <c:pt idx="518">
                  <c:v>66.1633207</c:v>
                </c:pt>
                <c:pt idx="519">
                  <c:v>0</c:v>
                </c:pt>
                <c:pt idx="520">
                  <c:v>63.286654599999999</c:v>
                </c:pt>
                <c:pt idx="521">
                  <c:v>0</c:v>
                </c:pt>
                <c:pt idx="522">
                  <c:v>14.383330600000001</c:v>
                </c:pt>
                <c:pt idx="523">
                  <c:v>163.01107999999999</c:v>
                </c:pt>
                <c:pt idx="524">
                  <c:v>61.3688772</c:v>
                </c:pt>
                <c:pt idx="525">
                  <c:v>7.6711096000000003</c:v>
                </c:pt>
                <c:pt idx="526">
                  <c:v>0</c:v>
                </c:pt>
                <c:pt idx="527">
                  <c:v>4.7944434999999999</c:v>
                </c:pt>
                <c:pt idx="528">
                  <c:v>2.8766661</c:v>
                </c:pt>
                <c:pt idx="529">
                  <c:v>9.5888871000000009</c:v>
                </c:pt>
                <c:pt idx="530">
                  <c:v>2.8766661</c:v>
                </c:pt>
                <c:pt idx="531">
                  <c:v>2.8766661</c:v>
                </c:pt>
                <c:pt idx="532">
                  <c:v>0</c:v>
                </c:pt>
                <c:pt idx="533">
                  <c:v>0.71916650000000004</c:v>
                </c:pt>
                <c:pt idx="534">
                  <c:v>0</c:v>
                </c:pt>
                <c:pt idx="535">
                  <c:v>0</c:v>
                </c:pt>
                <c:pt idx="536">
                  <c:v>2.8766661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4.7944434999999999</c:v>
                </c:pt>
                <c:pt idx="542">
                  <c:v>143.8333059</c:v>
                </c:pt>
                <c:pt idx="543">
                  <c:v>0</c:v>
                </c:pt>
                <c:pt idx="544">
                  <c:v>0</c:v>
                </c:pt>
                <c:pt idx="545">
                  <c:v>2.8766661</c:v>
                </c:pt>
                <c:pt idx="546">
                  <c:v>31.643327299999999</c:v>
                </c:pt>
                <c:pt idx="547">
                  <c:v>17.259996699999999</c:v>
                </c:pt>
                <c:pt idx="548">
                  <c:v>0</c:v>
                </c:pt>
                <c:pt idx="549">
                  <c:v>82.464428699999999</c:v>
                </c:pt>
                <c:pt idx="550">
                  <c:v>0</c:v>
                </c:pt>
                <c:pt idx="551">
                  <c:v>0</c:v>
                </c:pt>
                <c:pt idx="552">
                  <c:v>55.615544900000003</c:v>
                </c:pt>
                <c:pt idx="553">
                  <c:v>17.259996699999999</c:v>
                </c:pt>
                <c:pt idx="554">
                  <c:v>9.5888871000000009</c:v>
                </c:pt>
                <c:pt idx="555">
                  <c:v>31.643327299999999</c:v>
                </c:pt>
                <c:pt idx="556">
                  <c:v>0</c:v>
                </c:pt>
                <c:pt idx="557">
                  <c:v>19.177774100000001</c:v>
                </c:pt>
                <c:pt idx="558">
                  <c:v>85.341094799999993</c:v>
                </c:pt>
                <c:pt idx="559">
                  <c:v>4.7944434999999999</c:v>
                </c:pt>
                <c:pt idx="560">
                  <c:v>28.766661200000001</c:v>
                </c:pt>
                <c:pt idx="561">
                  <c:v>4.7944434999999999</c:v>
                </c:pt>
                <c:pt idx="562">
                  <c:v>22.054440199999998</c:v>
                </c:pt>
                <c:pt idx="563">
                  <c:v>0</c:v>
                </c:pt>
                <c:pt idx="564">
                  <c:v>0</c:v>
                </c:pt>
                <c:pt idx="565">
                  <c:v>112.1899786</c:v>
                </c:pt>
                <c:pt idx="566">
                  <c:v>22.054440199999998</c:v>
                </c:pt>
                <c:pt idx="567">
                  <c:v>2.8766661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4.7944434999999999</c:v>
                </c:pt>
                <c:pt idx="572">
                  <c:v>0</c:v>
                </c:pt>
                <c:pt idx="573">
                  <c:v>2.8766661</c:v>
                </c:pt>
                <c:pt idx="574">
                  <c:v>0</c:v>
                </c:pt>
                <c:pt idx="575">
                  <c:v>4.7944434999999999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48.903323999999998</c:v>
                </c:pt>
                <c:pt idx="582">
                  <c:v>9.5888871000000009</c:v>
                </c:pt>
                <c:pt idx="583">
                  <c:v>68.081098100000006</c:v>
                </c:pt>
                <c:pt idx="584">
                  <c:v>87.258872199999999</c:v>
                </c:pt>
                <c:pt idx="585">
                  <c:v>4.7944434999999999</c:v>
                </c:pt>
                <c:pt idx="586">
                  <c:v>50.821101400000003</c:v>
                </c:pt>
                <c:pt idx="587">
                  <c:v>0</c:v>
                </c:pt>
                <c:pt idx="588">
                  <c:v>19.177774100000001</c:v>
                </c:pt>
                <c:pt idx="589">
                  <c:v>4.7944434999999999</c:v>
                </c:pt>
                <c:pt idx="590">
                  <c:v>61.3688772</c:v>
                </c:pt>
                <c:pt idx="591">
                  <c:v>0</c:v>
                </c:pt>
                <c:pt idx="592">
                  <c:v>12.4655532</c:v>
                </c:pt>
                <c:pt idx="593">
                  <c:v>0</c:v>
                </c:pt>
                <c:pt idx="594">
                  <c:v>23.9722176</c:v>
                </c:pt>
                <c:pt idx="595">
                  <c:v>2.8766661</c:v>
                </c:pt>
                <c:pt idx="596">
                  <c:v>19.177774100000001</c:v>
                </c:pt>
                <c:pt idx="597">
                  <c:v>194.6544073</c:v>
                </c:pt>
                <c:pt idx="598">
                  <c:v>50.821101400000003</c:v>
                </c:pt>
                <c:pt idx="599">
                  <c:v>102.6010915</c:v>
                </c:pt>
                <c:pt idx="600">
                  <c:v>93.012204499999996</c:v>
                </c:pt>
                <c:pt idx="601">
                  <c:v>14.383330600000001</c:v>
                </c:pt>
                <c:pt idx="602">
                  <c:v>41.232214399999997</c:v>
                </c:pt>
                <c:pt idx="603">
                  <c:v>12.4655532</c:v>
                </c:pt>
                <c:pt idx="604">
                  <c:v>2.8766661</c:v>
                </c:pt>
                <c:pt idx="605">
                  <c:v>61.3688772</c:v>
                </c:pt>
                <c:pt idx="606">
                  <c:v>17.259996699999999</c:v>
                </c:pt>
                <c:pt idx="607">
                  <c:v>55.615544900000003</c:v>
                </c:pt>
                <c:pt idx="608">
                  <c:v>0</c:v>
                </c:pt>
                <c:pt idx="609">
                  <c:v>0</c:v>
                </c:pt>
                <c:pt idx="610">
                  <c:v>0</c:v>
                </c:pt>
                <c:pt idx="611">
                  <c:v>0</c:v>
                </c:pt>
                <c:pt idx="612">
                  <c:v>0</c:v>
                </c:pt>
                <c:pt idx="613">
                  <c:v>5.5136101000000002</c:v>
                </c:pt>
                <c:pt idx="614">
                  <c:v>0</c:v>
                </c:pt>
                <c:pt idx="615">
                  <c:v>22.054440199999998</c:v>
                </c:pt>
                <c:pt idx="616">
                  <c:v>9.5888871000000009</c:v>
                </c:pt>
                <c:pt idx="617">
                  <c:v>23.9722176</c:v>
                </c:pt>
                <c:pt idx="618">
                  <c:v>31.643327299999999</c:v>
                </c:pt>
                <c:pt idx="619">
                  <c:v>14.383330600000001</c:v>
                </c:pt>
                <c:pt idx="620">
                  <c:v>0</c:v>
                </c:pt>
                <c:pt idx="621">
                  <c:v>4.7944434999999999</c:v>
                </c:pt>
                <c:pt idx="622">
                  <c:v>4.7944434999999999</c:v>
                </c:pt>
                <c:pt idx="623">
                  <c:v>0</c:v>
                </c:pt>
                <c:pt idx="624">
                  <c:v>0</c:v>
                </c:pt>
                <c:pt idx="625">
                  <c:v>0</c:v>
                </c:pt>
                <c:pt idx="626">
                  <c:v>0</c:v>
                </c:pt>
                <c:pt idx="627">
                  <c:v>0</c:v>
                </c:pt>
                <c:pt idx="628">
                  <c:v>2.8766661</c:v>
                </c:pt>
                <c:pt idx="629">
                  <c:v>0</c:v>
                </c:pt>
                <c:pt idx="630">
                  <c:v>0</c:v>
                </c:pt>
                <c:pt idx="631">
                  <c:v>0</c:v>
                </c:pt>
                <c:pt idx="632">
                  <c:v>75.752207799999994</c:v>
                </c:pt>
                <c:pt idx="633">
                  <c:v>0</c:v>
                </c:pt>
                <c:pt idx="634">
                  <c:v>0</c:v>
                </c:pt>
                <c:pt idx="635">
                  <c:v>0</c:v>
                </c:pt>
                <c:pt idx="636">
                  <c:v>0</c:v>
                </c:pt>
                <c:pt idx="637">
                  <c:v>0</c:v>
                </c:pt>
                <c:pt idx="638">
                  <c:v>10.308053599999999</c:v>
                </c:pt>
                <c:pt idx="639">
                  <c:v>22.054440199999998</c:v>
                </c:pt>
                <c:pt idx="640">
                  <c:v>19.177774100000001</c:v>
                </c:pt>
                <c:pt idx="641">
                  <c:v>58.492211099999999</c:v>
                </c:pt>
                <c:pt idx="642">
                  <c:v>7.6711096000000003</c:v>
                </c:pt>
                <c:pt idx="643">
                  <c:v>2.8766661</c:v>
                </c:pt>
                <c:pt idx="644">
                  <c:v>0</c:v>
                </c:pt>
                <c:pt idx="645">
                  <c:v>0</c:v>
                </c:pt>
                <c:pt idx="646">
                  <c:v>7.6711096000000003</c:v>
                </c:pt>
                <c:pt idx="647">
                  <c:v>7.6711096000000003</c:v>
                </c:pt>
                <c:pt idx="648">
                  <c:v>0</c:v>
                </c:pt>
                <c:pt idx="649">
                  <c:v>0</c:v>
                </c:pt>
                <c:pt idx="650">
                  <c:v>0</c:v>
                </c:pt>
                <c:pt idx="651">
                  <c:v>0</c:v>
                </c:pt>
                <c:pt idx="652">
                  <c:v>0</c:v>
                </c:pt>
                <c:pt idx="653">
                  <c:v>0</c:v>
                </c:pt>
                <c:pt idx="654">
                  <c:v>0</c:v>
                </c:pt>
                <c:pt idx="655">
                  <c:v>28.766661200000001</c:v>
                </c:pt>
                <c:pt idx="656">
                  <c:v>0</c:v>
                </c:pt>
                <c:pt idx="657">
                  <c:v>0</c:v>
                </c:pt>
                <c:pt idx="658">
                  <c:v>0</c:v>
                </c:pt>
                <c:pt idx="659">
                  <c:v>0</c:v>
                </c:pt>
                <c:pt idx="660">
                  <c:v>0</c:v>
                </c:pt>
                <c:pt idx="661">
                  <c:v>0</c:v>
                </c:pt>
                <c:pt idx="662">
                  <c:v>0</c:v>
                </c:pt>
                <c:pt idx="663">
                  <c:v>0</c:v>
                </c:pt>
                <c:pt idx="664">
                  <c:v>0</c:v>
                </c:pt>
                <c:pt idx="665">
                  <c:v>0</c:v>
                </c:pt>
                <c:pt idx="666">
                  <c:v>0</c:v>
                </c:pt>
                <c:pt idx="667">
                  <c:v>0</c:v>
                </c:pt>
                <c:pt idx="668">
                  <c:v>0</c:v>
                </c:pt>
                <c:pt idx="669">
                  <c:v>0</c:v>
                </c:pt>
                <c:pt idx="670">
                  <c:v>0</c:v>
                </c:pt>
                <c:pt idx="671">
                  <c:v>2.8766661</c:v>
                </c:pt>
                <c:pt idx="672">
                  <c:v>14.383330600000001</c:v>
                </c:pt>
                <c:pt idx="673">
                  <c:v>0</c:v>
                </c:pt>
                <c:pt idx="674">
                  <c:v>0</c:v>
                </c:pt>
                <c:pt idx="675">
                  <c:v>0</c:v>
                </c:pt>
                <c:pt idx="676">
                  <c:v>0</c:v>
                </c:pt>
                <c:pt idx="677">
                  <c:v>0</c:v>
                </c:pt>
                <c:pt idx="678">
                  <c:v>0</c:v>
                </c:pt>
                <c:pt idx="679">
                  <c:v>0</c:v>
                </c:pt>
                <c:pt idx="680">
                  <c:v>0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53.697767499999998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2.8766661</c:v>
                </c:pt>
                <c:pt idx="693">
                  <c:v>72.875541699999999</c:v>
                </c:pt>
                <c:pt idx="694">
                  <c:v>2.8766661</c:v>
                </c:pt>
                <c:pt idx="695">
                  <c:v>41.232214399999997</c:v>
                </c:pt>
                <c:pt idx="696">
                  <c:v>0</c:v>
                </c:pt>
                <c:pt idx="697">
                  <c:v>50.821101400000003</c:v>
                </c:pt>
                <c:pt idx="698">
                  <c:v>41.232214399999997</c:v>
                </c:pt>
                <c:pt idx="699">
                  <c:v>12.4655532</c:v>
                </c:pt>
                <c:pt idx="700">
                  <c:v>12.4655532</c:v>
                </c:pt>
                <c:pt idx="701">
                  <c:v>0</c:v>
                </c:pt>
                <c:pt idx="702">
                  <c:v>7.6711096000000003</c:v>
                </c:pt>
                <c:pt idx="703">
                  <c:v>31.643327299999999</c:v>
                </c:pt>
                <c:pt idx="704">
                  <c:v>12.4655532</c:v>
                </c:pt>
                <c:pt idx="705">
                  <c:v>31.643327299999999</c:v>
                </c:pt>
                <c:pt idx="706">
                  <c:v>121.7788657</c:v>
                </c:pt>
                <c:pt idx="707">
                  <c:v>48.903323999999998</c:v>
                </c:pt>
                <c:pt idx="708">
                  <c:v>31.643327299999999</c:v>
                </c:pt>
                <c:pt idx="709">
                  <c:v>4.7944434999999999</c:v>
                </c:pt>
                <c:pt idx="710">
                  <c:v>7.6711096000000003</c:v>
                </c:pt>
                <c:pt idx="711">
                  <c:v>34.519993399999997</c:v>
                </c:pt>
                <c:pt idx="712">
                  <c:v>22.054440199999998</c:v>
                </c:pt>
                <c:pt idx="713">
                  <c:v>148.6277494</c:v>
                </c:pt>
                <c:pt idx="714">
                  <c:v>58.492211099999999</c:v>
                </c:pt>
                <c:pt idx="715">
                  <c:v>2.8766661</c:v>
                </c:pt>
                <c:pt idx="716">
                  <c:v>0</c:v>
                </c:pt>
                <c:pt idx="717">
                  <c:v>0</c:v>
                </c:pt>
                <c:pt idx="718">
                  <c:v>12.4655532</c:v>
                </c:pt>
                <c:pt idx="719">
                  <c:v>0</c:v>
                </c:pt>
                <c:pt idx="720">
                  <c:v>0</c:v>
                </c:pt>
                <c:pt idx="721">
                  <c:v>0</c:v>
                </c:pt>
                <c:pt idx="722">
                  <c:v>0</c:v>
                </c:pt>
                <c:pt idx="723">
                  <c:v>0</c:v>
                </c:pt>
                <c:pt idx="724">
                  <c:v>0</c:v>
                </c:pt>
                <c:pt idx="725">
                  <c:v>70.9577642</c:v>
                </c:pt>
                <c:pt idx="726">
                  <c:v>0</c:v>
                </c:pt>
                <c:pt idx="727">
                  <c:v>2.8766661</c:v>
                </c:pt>
                <c:pt idx="728">
                  <c:v>0</c:v>
                </c:pt>
                <c:pt idx="729">
                  <c:v>0</c:v>
                </c:pt>
                <c:pt idx="730">
                  <c:v>0</c:v>
                </c:pt>
                <c:pt idx="731">
                  <c:v>0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41.232214399999997</c:v>
                </c:pt>
                <c:pt idx="738">
                  <c:v>75.752207799999994</c:v>
                </c:pt>
                <c:pt idx="739">
                  <c:v>262.73550540000002</c:v>
                </c:pt>
                <c:pt idx="740">
                  <c:v>2.8766661</c:v>
                </c:pt>
                <c:pt idx="741">
                  <c:v>2.8766661</c:v>
                </c:pt>
                <c:pt idx="742">
                  <c:v>41.232214399999997</c:v>
                </c:pt>
                <c:pt idx="743">
                  <c:v>0</c:v>
                </c:pt>
                <c:pt idx="744">
                  <c:v>0</c:v>
                </c:pt>
                <c:pt idx="745">
                  <c:v>2.8766661</c:v>
                </c:pt>
                <c:pt idx="746">
                  <c:v>0</c:v>
                </c:pt>
                <c:pt idx="747">
                  <c:v>0</c:v>
                </c:pt>
                <c:pt idx="748">
                  <c:v>319.30993910000001</c:v>
                </c:pt>
                <c:pt idx="749">
                  <c:v>4.7944434999999999</c:v>
                </c:pt>
                <c:pt idx="750">
                  <c:v>26.848883799999999</c:v>
                </c:pt>
                <c:pt idx="751">
                  <c:v>0</c:v>
                </c:pt>
                <c:pt idx="752">
                  <c:v>0</c:v>
                </c:pt>
                <c:pt idx="753">
                  <c:v>4.7944434999999999</c:v>
                </c:pt>
                <c:pt idx="754">
                  <c:v>2.8766661</c:v>
                </c:pt>
                <c:pt idx="755">
                  <c:v>58.492211099999999</c:v>
                </c:pt>
                <c:pt idx="756">
                  <c:v>131.36775270000001</c:v>
                </c:pt>
                <c:pt idx="757">
                  <c:v>28.766661200000001</c:v>
                </c:pt>
                <c:pt idx="758">
                  <c:v>0</c:v>
                </c:pt>
                <c:pt idx="759">
                  <c:v>12.4655532</c:v>
                </c:pt>
                <c:pt idx="760">
                  <c:v>0</c:v>
                </c:pt>
                <c:pt idx="761">
                  <c:v>4.7944434999999999</c:v>
                </c:pt>
                <c:pt idx="762">
                  <c:v>23.9722176</c:v>
                </c:pt>
                <c:pt idx="763">
                  <c:v>55.615544900000003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2.8766661</c:v>
                </c:pt>
                <c:pt idx="776">
                  <c:v>68.081098100000006</c:v>
                </c:pt>
                <c:pt idx="777">
                  <c:v>0</c:v>
                </c:pt>
                <c:pt idx="778">
                  <c:v>14.383330600000001</c:v>
                </c:pt>
                <c:pt idx="779">
                  <c:v>102.6010915</c:v>
                </c:pt>
                <c:pt idx="780">
                  <c:v>14.383330600000001</c:v>
                </c:pt>
                <c:pt idx="781">
                  <c:v>17.259996699999999</c:v>
                </c:pt>
                <c:pt idx="782">
                  <c:v>44.108880499999998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  <c:pt idx="787">
                  <c:v>22.054440199999998</c:v>
                </c:pt>
                <c:pt idx="788">
                  <c:v>36.437770800000003</c:v>
                </c:pt>
                <c:pt idx="789">
                  <c:v>112.1899786</c:v>
                </c:pt>
                <c:pt idx="790">
                  <c:v>72.875541699999999</c:v>
                </c:pt>
                <c:pt idx="791">
                  <c:v>121.7788657</c:v>
                </c:pt>
                <c:pt idx="792">
                  <c:v>0</c:v>
                </c:pt>
                <c:pt idx="793">
                  <c:v>0</c:v>
                </c:pt>
                <c:pt idx="794">
                  <c:v>2.8766661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0</c:v>
                </c:pt>
                <c:pt idx="801">
                  <c:v>0</c:v>
                </c:pt>
                <c:pt idx="802">
                  <c:v>0</c:v>
                </c:pt>
                <c:pt idx="803">
                  <c:v>0</c:v>
                </c:pt>
                <c:pt idx="8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B6-4818-925F-A1C544F08546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ignup</c:v>
                </c:pt>
              </c:strCache>
            </c:strRef>
          </c:tx>
          <c:spPr>
            <a:solidFill>
              <a:schemeClr val="accent4"/>
            </a:solidFill>
            <a:ln w="12700">
              <a:solidFill>
                <a:schemeClr val="accent4"/>
              </a:solidFill>
            </a:ln>
            <a:effectLst/>
          </c:spPr>
          <c:invertIfNegative val="0"/>
          <c:cat>
            <c:numRef>
              <c:f>Sheet1!$A$2:$A$864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E$2:$E$864</c:f>
              <c:numCache>
                <c:formatCode>#,##0</c:formatCode>
                <c:ptCount val="8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7.909278</c:v>
                </c:pt>
                <c:pt idx="20">
                  <c:v>319.44268770000002</c:v>
                </c:pt>
                <c:pt idx="21">
                  <c:v>494.73904720000002</c:v>
                </c:pt>
                <c:pt idx="22">
                  <c:v>608.65520619999995</c:v>
                </c:pt>
                <c:pt idx="23">
                  <c:v>856.30105560000004</c:v>
                </c:pt>
                <c:pt idx="24">
                  <c:v>1116.3027491999999</c:v>
                </c:pt>
                <c:pt idx="25">
                  <c:v>1411.2676571</c:v>
                </c:pt>
                <c:pt idx="26">
                  <c:v>1502.1523295</c:v>
                </c:pt>
                <c:pt idx="27">
                  <c:v>1447.9501911</c:v>
                </c:pt>
                <c:pt idx="28">
                  <c:v>1418.6714982999999</c:v>
                </c:pt>
                <c:pt idx="29">
                  <c:v>1360.3533686999999</c:v>
                </c:pt>
                <c:pt idx="30">
                  <c:v>1327.2056179000001</c:v>
                </c:pt>
                <c:pt idx="31">
                  <c:v>1377.3996208999999</c:v>
                </c:pt>
                <c:pt idx="32">
                  <c:v>1552.7818066</c:v>
                </c:pt>
                <c:pt idx="33">
                  <c:v>1593.4224838</c:v>
                </c:pt>
                <c:pt idx="34">
                  <c:v>1307.4840285999999</c:v>
                </c:pt>
                <c:pt idx="35">
                  <c:v>1150.7271458999999</c:v>
                </c:pt>
                <c:pt idx="36">
                  <c:v>1060.4696066000001</c:v>
                </c:pt>
                <c:pt idx="37">
                  <c:v>1020.4889608</c:v>
                </c:pt>
                <c:pt idx="38">
                  <c:v>1123.1732901</c:v>
                </c:pt>
                <c:pt idx="39">
                  <c:v>1290.3015384999999</c:v>
                </c:pt>
                <c:pt idx="40">
                  <c:v>1288.2437697</c:v>
                </c:pt>
                <c:pt idx="41">
                  <c:v>1155.7510291000001</c:v>
                </c:pt>
                <c:pt idx="42">
                  <c:v>1106.7403487000001</c:v>
                </c:pt>
                <c:pt idx="43">
                  <c:v>1119.3267693</c:v>
                </c:pt>
                <c:pt idx="44">
                  <c:v>1273.5249609</c:v>
                </c:pt>
                <c:pt idx="45">
                  <c:v>1360.2898911000002</c:v>
                </c:pt>
                <c:pt idx="46">
                  <c:v>1602.1255758000002</c:v>
                </c:pt>
                <c:pt idx="47">
                  <c:v>1610.2288909999997</c:v>
                </c:pt>
                <c:pt idx="48">
                  <c:v>1439.7008824</c:v>
                </c:pt>
                <c:pt idx="49">
                  <c:v>1364.8537237</c:v>
                </c:pt>
                <c:pt idx="50">
                  <c:v>1332.7755628</c:v>
                </c:pt>
                <c:pt idx="51">
                  <c:v>1347.6601134</c:v>
                </c:pt>
                <c:pt idx="52">
                  <c:v>1453.3103180000001</c:v>
                </c:pt>
                <c:pt idx="53">
                  <c:v>1665.0694298999999</c:v>
                </c:pt>
                <c:pt idx="54">
                  <c:v>1653.2140196</c:v>
                </c:pt>
                <c:pt idx="55">
                  <c:v>1809.4470469</c:v>
                </c:pt>
                <c:pt idx="56">
                  <c:v>2031.2588954</c:v>
                </c:pt>
                <c:pt idx="57">
                  <c:v>2112.8868305999999</c:v>
                </c:pt>
                <c:pt idx="58">
                  <c:v>2202.1060434000001</c:v>
                </c:pt>
                <c:pt idx="59">
                  <c:v>2460.4241876000001</c:v>
                </c:pt>
                <c:pt idx="60">
                  <c:v>2764.2467932</c:v>
                </c:pt>
                <c:pt idx="61">
                  <c:v>2936.2017307000001</c:v>
                </c:pt>
                <c:pt idx="62">
                  <c:v>2838.3670416</c:v>
                </c:pt>
                <c:pt idx="63">
                  <c:v>2732.2808064999999</c:v>
                </c:pt>
                <c:pt idx="64">
                  <c:v>2412.3512988000002</c:v>
                </c:pt>
                <c:pt idx="65">
                  <c:v>2067.4005686</c:v>
                </c:pt>
                <c:pt idx="66">
                  <c:v>2024.7282897999999</c:v>
                </c:pt>
                <c:pt idx="67">
                  <c:v>2145.0812124999998</c:v>
                </c:pt>
                <c:pt idx="68">
                  <c:v>2076.441253</c:v>
                </c:pt>
                <c:pt idx="69">
                  <c:v>1803.5614002</c:v>
                </c:pt>
                <c:pt idx="70">
                  <c:v>1642.6885907000001</c:v>
                </c:pt>
                <c:pt idx="71">
                  <c:v>1541.3198829</c:v>
                </c:pt>
                <c:pt idx="72">
                  <c:v>1843.7648984</c:v>
                </c:pt>
                <c:pt idx="73">
                  <c:v>2189.3922630000002</c:v>
                </c:pt>
                <c:pt idx="74">
                  <c:v>2619.2921627000001</c:v>
                </c:pt>
                <c:pt idx="75">
                  <c:v>2960.1669294000003</c:v>
                </c:pt>
                <c:pt idx="76">
                  <c:v>3029.4264393000003</c:v>
                </c:pt>
                <c:pt idx="77">
                  <c:v>2927.7038506999997</c:v>
                </c:pt>
                <c:pt idx="78">
                  <c:v>2785.0267812000002</c:v>
                </c:pt>
                <c:pt idx="79">
                  <c:v>2668.9537193000001</c:v>
                </c:pt>
                <c:pt idx="80">
                  <c:v>2781.6096779999998</c:v>
                </c:pt>
                <c:pt idx="81">
                  <c:v>3142.0406392999998</c:v>
                </c:pt>
                <c:pt idx="82">
                  <c:v>3216.5053857999997</c:v>
                </c:pt>
                <c:pt idx="83">
                  <c:v>3182.1368754999999</c:v>
                </c:pt>
                <c:pt idx="84">
                  <c:v>3004.3075245999999</c:v>
                </c:pt>
                <c:pt idx="85">
                  <c:v>2982.5594770000002</c:v>
                </c:pt>
                <c:pt idx="86">
                  <c:v>2835.7933638000004</c:v>
                </c:pt>
                <c:pt idx="87">
                  <c:v>3018.3989499999998</c:v>
                </c:pt>
                <c:pt idx="88">
                  <c:v>3399.4650235000004</c:v>
                </c:pt>
                <c:pt idx="89">
                  <c:v>3377.0320324000004</c:v>
                </c:pt>
                <c:pt idx="90">
                  <c:v>3210.9561144000004</c:v>
                </c:pt>
                <c:pt idx="91">
                  <c:v>2529.9519537000001</c:v>
                </c:pt>
                <c:pt idx="92">
                  <c:v>2220.5858916000002</c:v>
                </c:pt>
                <c:pt idx="93">
                  <c:v>2080.8209274999999</c:v>
                </c:pt>
                <c:pt idx="94">
                  <c:v>2225.8892421999994</c:v>
                </c:pt>
                <c:pt idx="95">
                  <c:v>2649.1401558000002</c:v>
                </c:pt>
                <c:pt idx="96">
                  <c:v>2599.8442329</c:v>
                </c:pt>
                <c:pt idx="97">
                  <c:v>2239.4208860000003</c:v>
                </c:pt>
                <c:pt idx="98">
                  <c:v>1995.2214826000002</c:v>
                </c:pt>
                <c:pt idx="99">
                  <c:v>1866.7841552000002</c:v>
                </c:pt>
                <c:pt idx="100">
                  <c:v>1845.9586221</c:v>
                </c:pt>
                <c:pt idx="101">
                  <c:v>2042.664434</c:v>
                </c:pt>
                <c:pt idx="102">
                  <c:v>2462.2905454000002</c:v>
                </c:pt>
                <c:pt idx="103">
                  <c:v>2394.0352005</c:v>
                </c:pt>
                <c:pt idx="104">
                  <c:v>2087.6439983</c:v>
                </c:pt>
                <c:pt idx="105">
                  <c:v>2077.8839989000003</c:v>
                </c:pt>
                <c:pt idx="106">
                  <c:v>1943.8079505000003</c:v>
                </c:pt>
                <c:pt idx="107">
                  <c:v>1894.7684468</c:v>
                </c:pt>
                <c:pt idx="108">
                  <c:v>2069.2682629999999</c:v>
                </c:pt>
                <c:pt idx="109">
                  <c:v>2528.2603922000003</c:v>
                </c:pt>
                <c:pt idx="110">
                  <c:v>2416.3134581999998</c:v>
                </c:pt>
                <c:pt idx="111">
                  <c:v>2038.7178120000001</c:v>
                </c:pt>
                <c:pt idx="112">
                  <c:v>1886.1335292000001</c:v>
                </c:pt>
                <c:pt idx="113">
                  <c:v>1701.4893210000002</c:v>
                </c:pt>
                <c:pt idx="114">
                  <c:v>1663.2916089999999</c:v>
                </c:pt>
                <c:pt idx="115">
                  <c:v>1803.3733674</c:v>
                </c:pt>
                <c:pt idx="116">
                  <c:v>2207.1073610999997</c:v>
                </c:pt>
                <c:pt idx="117">
                  <c:v>2048.1656557000001</c:v>
                </c:pt>
                <c:pt idx="118">
                  <c:v>1571.3627343999999</c:v>
                </c:pt>
                <c:pt idx="119">
                  <c:v>1273.7228439</c:v>
                </c:pt>
                <c:pt idx="120">
                  <c:v>1091.8365845000001</c:v>
                </c:pt>
                <c:pt idx="121">
                  <c:v>993.7737334000002</c:v>
                </c:pt>
                <c:pt idx="122">
                  <c:v>1100.6026637</c:v>
                </c:pt>
                <c:pt idx="123">
                  <c:v>1369.7499475</c:v>
                </c:pt>
                <c:pt idx="124">
                  <c:v>1297.8128581999999</c:v>
                </c:pt>
                <c:pt idx="125">
                  <c:v>1075.0408132</c:v>
                </c:pt>
                <c:pt idx="126">
                  <c:v>947.67646539999998</c:v>
                </c:pt>
                <c:pt idx="127">
                  <c:v>863.98051099999998</c:v>
                </c:pt>
                <c:pt idx="128">
                  <c:v>831.31418439999993</c:v>
                </c:pt>
                <c:pt idx="129">
                  <c:v>932.24925359999997</c:v>
                </c:pt>
                <c:pt idx="130">
                  <c:v>1121.6621273000001</c:v>
                </c:pt>
                <c:pt idx="131">
                  <c:v>1098.3856691999999</c:v>
                </c:pt>
                <c:pt idx="132">
                  <c:v>950.12524140000005</c:v>
                </c:pt>
                <c:pt idx="133">
                  <c:v>840.37656759999993</c:v>
                </c:pt>
                <c:pt idx="134">
                  <c:v>794.21900540000001</c:v>
                </c:pt>
                <c:pt idx="135">
                  <c:v>801.62696040000003</c:v>
                </c:pt>
                <c:pt idx="136">
                  <c:v>899.88222729999995</c:v>
                </c:pt>
                <c:pt idx="137">
                  <c:v>1164.6803169</c:v>
                </c:pt>
                <c:pt idx="138">
                  <c:v>1117.4696246000001</c:v>
                </c:pt>
                <c:pt idx="139">
                  <c:v>958.57906030000004</c:v>
                </c:pt>
                <c:pt idx="140">
                  <c:v>914.61422289999996</c:v>
                </c:pt>
                <c:pt idx="141">
                  <c:v>892.8218832</c:v>
                </c:pt>
                <c:pt idx="142">
                  <c:v>925.97903029999998</c:v>
                </c:pt>
                <c:pt idx="143">
                  <c:v>1131.5985269</c:v>
                </c:pt>
                <c:pt idx="144">
                  <c:v>1488.0287592</c:v>
                </c:pt>
                <c:pt idx="145">
                  <c:v>1430.3012383999999</c:v>
                </c:pt>
                <c:pt idx="146">
                  <c:v>1166.0308249999998</c:v>
                </c:pt>
                <c:pt idx="147">
                  <c:v>993.03619319999996</c:v>
                </c:pt>
                <c:pt idx="148">
                  <c:v>875.05164710000008</c:v>
                </c:pt>
                <c:pt idx="149">
                  <c:v>814.84059059999993</c:v>
                </c:pt>
                <c:pt idx="150">
                  <c:v>887.62952989999997</c:v>
                </c:pt>
                <c:pt idx="151">
                  <c:v>1128.5250855000002</c:v>
                </c:pt>
                <c:pt idx="152">
                  <c:v>1088.4379855000002</c:v>
                </c:pt>
                <c:pt idx="153">
                  <c:v>901.10409679999998</c:v>
                </c:pt>
                <c:pt idx="154">
                  <c:v>777.39024259999997</c:v>
                </c:pt>
                <c:pt idx="155">
                  <c:v>719.00085950000005</c:v>
                </c:pt>
                <c:pt idx="156">
                  <c:v>698.39961330000006</c:v>
                </c:pt>
                <c:pt idx="157">
                  <c:v>781.50052189999997</c:v>
                </c:pt>
                <c:pt idx="158">
                  <c:v>956.11556989999997</c:v>
                </c:pt>
                <c:pt idx="159">
                  <c:v>977.28685089999999</c:v>
                </c:pt>
                <c:pt idx="160">
                  <c:v>803.16363630000001</c:v>
                </c:pt>
                <c:pt idx="161">
                  <c:v>699.36240329999998</c:v>
                </c:pt>
                <c:pt idx="162">
                  <c:v>654.20483060000004</c:v>
                </c:pt>
                <c:pt idx="163">
                  <c:v>763.5452358</c:v>
                </c:pt>
                <c:pt idx="164">
                  <c:v>984.97029909999992</c:v>
                </c:pt>
                <c:pt idx="165">
                  <c:v>1368.2516551000001</c:v>
                </c:pt>
                <c:pt idx="166">
                  <c:v>1447.7812154000001</c:v>
                </c:pt>
                <c:pt idx="167">
                  <c:v>2107.6521736</c:v>
                </c:pt>
                <c:pt idx="168">
                  <c:v>2072.3767097</c:v>
                </c:pt>
                <c:pt idx="169">
                  <c:v>2104.7213283999999</c:v>
                </c:pt>
                <c:pt idx="170">
                  <c:v>1990.9954757999999</c:v>
                </c:pt>
                <c:pt idx="171">
                  <c:v>2037.3628752</c:v>
                </c:pt>
                <c:pt idx="172">
                  <c:v>2328.4520081999999</c:v>
                </c:pt>
                <c:pt idx="173">
                  <c:v>2331.1399674999998</c:v>
                </c:pt>
                <c:pt idx="174">
                  <c:v>2031.1403863</c:v>
                </c:pt>
                <c:pt idx="175">
                  <c:v>1405.6866565</c:v>
                </c:pt>
                <c:pt idx="176">
                  <c:v>1040.0892908999999</c:v>
                </c:pt>
                <c:pt idx="177">
                  <c:v>977.96445859999994</c:v>
                </c:pt>
                <c:pt idx="178">
                  <c:v>1027.6957526000001</c:v>
                </c:pt>
                <c:pt idx="179">
                  <c:v>1150.2238639</c:v>
                </c:pt>
                <c:pt idx="180">
                  <c:v>1194.9867400000001</c:v>
                </c:pt>
                <c:pt idx="181">
                  <c:v>1117.0446262</c:v>
                </c:pt>
                <c:pt idx="182">
                  <c:v>1131.2181611000001</c:v>
                </c:pt>
                <c:pt idx="183">
                  <c:v>1277.1776414000001</c:v>
                </c:pt>
                <c:pt idx="184">
                  <c:v>1625.1732661000001</c:v>
                </c:pt>
                <c:pt idx="185">
                  <c:v>2034.4334294</c:v>
                </c:pt>
                <c:pt idx="186">
                  <c:v>2606.1633349999997</c:v>
                </c:pt>
                <c:pt idx="187">
                  <c:v>2543.3441611999997</c:v>
                </c:pt>
                <c:pt idx="188">
                  <c:v>2093.3931892000001</c:v>
                </c:pt>
                <c:pt idx="189">
                  <c:v>1906.3936089999997</c:v>
                </c:pt>
                <c:pt idx="190">
                  <c:v>1887.2874993999999</c:v>
                </c:pt>
                <c:pt idx="191">
                  <c:v>1953.3441869000001</c:v>
                </c:pt>
                <c:pt idx="192">
                  <c:v>2266.5489100999998</c:v>
                </c:pt>
                <c:pt idx="193">
                  <c:v>2335.8552213999997</c:v>
                </c:pt>
                <c:pt idx="194">
                  <c:v>1401.5131329000001</c:v>
                </c:pt>
                <c:pt idx="195">
                  <c:v>1276.0741589000002</c:v>
                </c:pt>
                <c:pt idx="196">
                  <c:v>1138.3638722999999</c:v>
                </c:pt>
                <c:pt idx="197">
                  <c:v>993.02017219999993</c:v>
                </c:pt>
                <c:pt idx="198">
                  <c:v>919.81883700000003</c:v>
                </c:pt>
                <c:pt idx="199">
                  <c:v>951.60560229999999</c:v>
                </c:pt>
                <c:pt idx="200">
                  <c:v>894.6318129</c:v>
                </c:pt>
                <c:pt idx="201">
                  <c:v>803.00721410000006</c:v>
                </c:pt>
                <c:pt idx="202">
                  <c:v>752.97137559999999</c:v>
                </c:pt>
                <c:pt idx="203">
                  <c:v>709.08030049999991</c:v>
                </c:pt>
                <c:pt idx="204">
                  <c:v>665.96685600000001</c:v>
                </c:pt>
                <c:pt idx="205">
                  <c:v>923.51165379999998</c:v>
                </c:pt>
                <c:pt idx="206">
                  <c:v>1138.5910543</c:v>
                </c:pt>
                <c:pt idx="207">
                  <c:v>919.07266979999997</c:v>
                </c:pt>
                <c:pt idx="208">
                  <c:v>789.72961480000004</c:v>
                </c:pt>
                <c:pt idx="209">
                  <c:v>732.42071659999999</c:v>
                </c:pt>
                <c:pt idx="210">
                  <c:v>439.9260251</c:v>
                </c:pt>
                <c:pt idx="211">
                  <c:v>263.95561509999999</c:v>
                </c:pt>
                <c:pt idx="212">
                  <c:v>158.373369</c:v>
                </c:pt>
                <c:pt idx="213">
                  <c:v>95.024021399999995</c:v>
                </c:pt>
                <c:pt idx="214">
                  <c:v>57.014412900000004</c:v>
                </c:pt>
                <c:pt idx="215">
                  <c:v>34.2086477</c:v>
                </c:pt>
                <c:pt idx="216">
                  <c:v>61.389683699999999</c:v>
                </c:pt>
                <c:pt idx="217">
                  <c:v>185.81331070000002</c:v>
                </c:pt>
                <c:pt idx="218">
                  <c:v>276.7050347</c:v>
                </c:pt>
                <c:pt idx="219">
                  <c:v>404.78262889999996</c:v>
                </c:pt>
                <c:pt idx="220">
                  <c:v>534.80715420000001</c:v>
                </c:pt>
                <c:pt idx="221">
                  <c:v>683.52285860000006</c:v>
                </c:pt>
                <c:pt idx="222">
                  <c:v>725.2574540999999</c:v>
                </c:pt>
                <c:pt idx="223">
                  <c:v>702.39744559999997</c:v>
                </c:pt>
                <c:pt idx="224">
                  <c:v>687.59893719999991</c:v>
                </c:pt>
                <c:pt idx="225">
                  <c:v>669.04496010000003</c:v>
                </c:pt>
                <c:pt idx="226">
                  <c:v>683.89265010000008</c:v>
                </c:pt>
                <c:pt idx="227">
                  <c:v>802.4047114</c:v>
                </c:pt>
                <c:pt idx="228">
                  <c:v>1056.2520165999999</c:v>
                </c:pt>
                <c:pt idx="229">
                  <c:v>1088.4025465</c:v>
                </c:pt>
                <c:pt idx="230">
                  <c:v>928.26796190000005</c:v>
                </c:pt>
                <c:pt idx="231">
                  <c:v>822.51233909999996</c:v>
                </c:pt>
                <c:pt idx="232">
                  <c:v>762.37413130000004</c:v>
                </c:pt>
                <c:pt idx="233">
                  <c:v>749.90330729999994</c:v>
                </c:pt>
                <c:pt idx="234">
                  <c:v>864.60835970000005</c:v>
                </c:pt>
                <c:pt idx="235">
                  <c:v>1100.5428198</c:v>
                </c:pt>
                <c:pt idx="236">
                  <c:v>1155.9091800000001</c:v>
                </c:pt>
                <c:pt idx="237">
                  <c:v>946.03937519999999</c:v>
                </c:pt>
                <c:pt idx="238">
                  <c:v>811.931062</c:v>
                </c:pt>
                <c:pt idx="239">
                  <c:v>745.80924129999994</c:v>
                </c:pt>
                <c:pt idx="240">
                  <c:v>728.19215129999998</c:v>
                </c:pt>
                <c:pt idx="241">
                  <c:v>812.47623859999999</c:v>
                </c:pt>
                <c:pt idx="242">
                  <c:v>1052.0111526000001</c:v>
                </c:pt>
                <c:pt idx="243">
                  <c:v>1153.8527592</c:v>
                </c:pt>
                <c:pt idx="244">
                  <c:v>1039.8423441</c:v>
                </c:pt>
                <c:pt idx="245">
                  <c:v>982.61007670000004</c:v>
                </c:pt>
                <c:pt idx="246">
                  <c:v>966.95865850000007</c:v>
                </c:pt>
                <c:pt idx="247">
                  <c:v>975.99619510000002</c:v>
                </c:pt>
                <c:pt idx="248">
                  <c:v>1131.9604744000001</c:v>
                </c:pt>
                <c:pt idx="249">
                  <c:v>1510.1840890000001</c:v>
                </c:pt>
                <c:pt idx="250">
                  <c:v>1553.9591197</c:v>
                </c:pt>
                <c:pt idx="251">
                  <c:v>1308.4703104</c:v>
                </c:pt>
                <c:pt idx="252">
                  <c:v>1166.2816018000001</c:v>
                </c:pt>
                <c:pt idx="253">
                  <c:v>1072.5761062000001</c:v>
                </c:pt>
                <c:pt idx="254">
                  <c:v>1080.3763148</c:v>
                </c:pt>
                <c:pt idx="255">
                  <c:v>1227.3789636000001</c:v>
                </c:pt>
                <c:pt idx="256">
                  <c:v>1557.7451384000001</c:v>
                </c:pt>
                <c:pt idx="257">
                  <c:v>1571.0753400000001</c:v>
                </c:pt>
                <c:pt idx="258">
                  <c:v>1338.7257588</c:v>
                </c:pt>
                <c:pt idx="259">
                  <c:v>1177.6864472</c:v>
                </c:pt>
                <c:pt idx="260">
                  <c:v>1098.88562</c:v>
                </c:pt>
                <c:pt idx="261">
                  <c:v>1144.6122439000001</c:v>
                </c:pt>
                <c:pt idx="262">
                  <c:v>1316.0145885000002</c:v>
                </c:pt>
                <c:pt idx="263">
                  <c:v>1716.7383348000001</c:v>
                </c:pt>
                <c:pt idx="264">
                  <c:v>1677.6321123</c:v>
                </c:pt>
                <c:pt idx="265">
                  <c:v>1382.5010695999999</c:v>
                </c:pt>
                <c:pt idx="266">
                  <c:v>1186.3884286</c:v>
                </c:pt>
                <c:pt idx="267">
                  <c:v>1138.3680365</c:v>
                </c:pt>
                <c:pt idx="268">
                  <c:v>1191.2290303</c:v>
                </c:pt>
                <c:pt idx="269">
                  <c:v>1322.5281341</c:v>
                </c:pt>
                <c:pt idx="270">
                  <c:v>1647.7980944000001</c:v>
                </c:pt>
                <c:pt idx="271">
                  <c:v>1597.9403828000002</c:v>
                </c:pt>
                <c:pt idx="272">
                  <c:v>1342.1266014999999</c:v>
                </c:pt>
                <c:pt idx="273">
                  <c:v>1163.2884850999999</c:v>
                </c:pt>
                <c:pt idx="274">
                  <c:v>1045.6899433000001</c:v>
                </c:pt>
                <c:pt idx="275">
                  <c:v>986.0321179</c:v>
                </c:pt>
                <c:pt idx="276">
                  <c:v>1045.8400904</c:v>
                </c:pt>
                <c:pt idx="277">
                  <c:v>1264.3649025</c:v>
                </c:pt>
                <c:pt idx="278">
                  <c:v>1184.7213295000001</c:v>
                </c:pt>
                <c:pt idx="279">
                  <c:v>989.94067660000007</c:v>
                </c:pt>
                <c:pt idx="280">
                  <c:v>829.12101319999999</c:v>
                </c:pt>
                <c:pt idx="281">
                  <c:v>724.40998130000003</c:v>
                </c:pt>
                <c:pt idx="282">
                  <c:v>676.11842830000001</c:v>
                </c:pt>
                <c:pt idx="283">
                  <c:v>599.3854217999999</c:v>
                </c:pt>
                <c:pt idx="284">
                  <c:v>480.58376850000002</c:v>
                </c:pt>
                <c:pt idx="285">
                  <c:v>392.1721627</c:v>
                </c:pt>
                <c:pt idx="286">
                  <c:v>328.13738139999998</c:v>
                </c:pt>
                <c:pt idx="287">
                  <c:v>270.85553369999997</c:v>
                </c:pt>
                <c:pt idx="288">
                  <c:v>225.32557069999999</c:v>
                </c:pt>
                <c:pt idx="289">
                  <c:v>191.77827879999998</c:v>
                </c:pt>
                <c:pt idx="290">
                  <c:v>169.48694749999999</c:v>
                </c:pt>
                <c:pt idx="291">
                  <c:v>151.18060819999999</c:v>
                </c:pt>
                <c:pt idx="292">
                  <c:v>90.881401400000001</c:v>
                </c:pt>
                <c:pt idx="293">
                  <c:v>56.084939200000001</c:v>
                </c:pt>
                <c:pt idx="294">
                  <c:v>135.13563679999999</c:v>
                </c:pt>
                <c:pt idx="295">
                  <c:v>138.1157685</c:v>
                </c:pt>
                <c:pt idx="296">
                  <c:v>115.27690010000001</c:v>
                </c:pt>
                <c:pt idx="297">
                  <c:v>98.867321200000006</c:v>
                </c:pt>
                <c:pt idx="298">
                  <c:v>86.247659400000003</c:v>
                </c:pt>
                <c:pt idx="299">
                  <c:v>78.066954199999998</c:v>
                </c:pt>
                <c:pt idx="300">
                  <c:v>71.670089300000001</c:v>
                </c:pt>
                <c:pt idx="301">
                  <c:v>74.665271599999997</c:v>
                </c:pt>
                <c:pt idx="302">
                  <c:v>69.358453999999995</c:v>
                </c:pt>
                <c:pt idx="303">
                  <c:v>65.4301423</c:v>
                </c:pt>
                <c:pt idx="304">
                  <c:v>60.366897399999999</c:v>
                </c:pt>
                <c:pt idx="305">
                  <c:v>58.411453700000003</c:v>
                </c:pt>
                <c:pt idx="306">
                  <c:v>57.5088133</c:v>
                </c:pt>
                <c:pt idx="307">
                  <c:v>92.486864699999998</c:v>
                </c:pt>
                <c:pt idx="308">
                  <c:v>74.909519599999996</c:v>
                </c:pt>
                <c:pt idx="309">
                  <c:v>168.0127923</c:v>
                </c:pt>
                <c:pt idx="310">
                  <c:v>132.20026770000001</c:v>
                </c:pt>
                <c:pt idx="311">
                  <c:v>100.02303389999999</c:v>
                </c:pt>
                <c:pt idx="312">
                  <c:v>82.746387200000001</c:v>
                </c:pt>
                <c:pt idx="313">
                  <c:v>71.906803999999994</c:v>
                </c:pt>
                <c:pt idx="314">
                  <c:v>63.643986400000003</c:v>
                </c:pt>
                <c:pt idx="315">
                  <c:v>40.960306200000005</c:v>
                </c:pt>
                <c:pt idx="316">
                  <c:v>24.576183700000001</c:v>
                </c:pt>
                <c:pt idx="317">
                  <c:v>14.745710300000001</c:v>
                </c:pt>
                <c:pt idx="318">
                  <c:v>8.8474260999999998</c:v>
                </c:pt>
                <c:pt idx="319">
                  <c:v>5.3084556999999997</c:v>
                </c:pt>
                <c:pt idx="320">
                  <c:v>3.1850734000000003</c:v>
                </c:pt>
                <c:pt idx="321">
                  <c:v>1.9110441</c:v>
                </c:pt>
                <c:pt idx="322">
                  <c:v>1.1466263999999999</c:v>
                </c:pt>
                <c:pt idx="323">
                  <c:v>0.68797589999999997</c:v>
                </c:pt>
                <c:pt idx="324">
                  <c:v>0.41278549999999997</c:v>
                </c:pt>
                <c:pt idx="325">
                  <c:v>0.24767130000000001</c:v>
                </c:pt>
                <c:pt idx="326">
                  <c:v>0.14860279999999998</c:v>
                </c:pt>
                <c:pt idx="327">
                  <c:v>8.916170000000001E-2</c:v>
                </c:pt>
                <c:pt idx="328">
                  <c:v>5.3496999999999996E-2</c:v>
                </c:pt>
                <c:pt idx="329">
                  <c:v>0.77631919999999999</c:v>
                </c:pt>
                <c:pt idx="330">
                  <c:v>13.9970812</c:v>
                </c:pt>
                <c:pt idx="331">
                  <c:v>69.086083400000007</c:v>
                </c:pt>
                <c:pt idx="332">
                  <c:v>75.415187399999994</c:v>
                </c:pt>
                <c:pt idx="333">
                  <c:v>88.752209099999988</c:v>
                </c:pt>
                <c:pt idx="334">
                  <c:v>74.766076100000006</c:v>
                </c:pt>
                <c:pt idx="335">
                  <c:v>73.072384900000003</c:v>
                </c:pt>
                <c:pt idx="336">
                  <c:v>69.214599300000003</c:v>
                </c:pt>
                <c:pt idx="337">
                  <c:v>57.969276600000001</c:v>
                </c:pt>
                <c:pt idx="338">
                  <c:v>50.410205699999999</c:v>
                </c:pt>
                <c:pt idx="339">
                  <c:v>46.3483582</c:v>
                </c:pt>
                <c:pt idx="340">
                  <c:v>58.795668499999998</c:v>
                </c:pt>
                <c:pt idx="341">
                  <c:v>54.491832600000002</c:v>
                </c:pt>
                <c:pt idx="342">
                  <c:v>53.059690699999997</c:v>
                </c:pt>
                <c:pt idx="343">
                  <c:v>46.3819509</c:v>
                </c:pt>
                <c:pt idx="344">
                  <c:v>27.829170600000001</c:v>
                </c:pt>
                <c:pt idx="345">
                  <c:v>16.6975023</c:v>
                </c:pt>
                <c:pt idx="346">
                  <c:v>10.0185014</c:v>
                </c:pt>
                <c:pt idx="347">
                  <c:v>6.0111008000000004</c:v>
                </c:pt>
                <c:pt idx="348">
                  <c:v>3.6066604999999998</c:v>
                </c:pt>
                <c:pt idx="349">
                  <c:v>2.1639963</c:v>
                </c:pt>
                <c:pt idx="350">
                  <c:v>1.2983978</c:v>
                </c:pt>
                <c:pt idx="351">
                  <c:v>0.77903869999999997</c:v>
                </c:pt>
                <c:pt idx="352">
                  <c:v>0.46742319999999998</c:v>
                </c:pt>
                <c:pt idx="353">
                  <c:v>0.28045389999999998</c:v>
                </c:pt>
                <c:pt idx="354">
                  <c:v>0.16827239999999999</c:v>
                </c:pt>
                <c:pt idx="355">
                  <c:v>0.10096339999999999</c:v>
                </c:pt>
                <c:pt idx="356">
                  <c:v>6.0578E-2</c:v>
                </c:pt>
                <c:pt idx="357">
                  <c:v>51.522904400000002</c:v>
                </c:pt>
                <c:pt idx="358">
                  <c:v>74.822778</c:v>
                </c:pt>
                <c:pt idx="359">
                  <c:v>88.938014999999993</c:v>
                </c:pt>
                <c:pt idx="360">
                  <c:v>107.5556246</c:v>
                </c:pt>
                <c:pt idx="361">
                  <c:v>131.3779462</c:v>
                </c:pt>
                <c:pt idx="362">
                  <c:v>132.81661399999999</c:v>
                </c:pt>
                <c:pt idx="363">
                  <c:v>127.6583906</c:v>
                </c:pt>
                <c:pt idx="364">
                  <c:v>127.67565329999999</c:v>
                </c:pt>
                <c:pt idx="365">
                  <c:v>129.10679630000001</c:v>
                </c:pt>
                <c:pt idx="366">
                  <c:v>126.8532855</c:v>
                </c:pt>
                <c:pt idx="367">
                  <c:v>139.43840739999999</c:v>
                </c:pt>
                <c:pt idx="368">
                  <c:v>168.97782649999999</c:v>
                </c:pt>
                <c:pt idx="369">
                  <c:v>169.92267860000001</c:v>
                </c:pt>
                <c:pt idx="370">
                  <c:v>156.2641041</c:v>
                </c:pt>
                <c:pt idx="371">
                  <c:v>173.30809730000001</c:v>
                </c:pt>
                <c:pt idx="372">
                  <c:v>188.9761221</c:v>
                </c:pt>
                <c:pt idx="373">
                  <c:v>203.02760039999998</c:v>
                </c:pt>
                <c:pt idx="374">
                  <c:v>229.44280220000002</c:v>
                </c:pt>
                <c:pt idx="375">
                  <c:v>275.7418366</c:v>
                </c:pt>
                <c:pt idx="376">
                  <c:v>270.587737</c:v>
                </c:pt>
                <c:pt idx="377">
                  <c:v>247.1630787</c:v>
                </c:pt>
                <c:pt idx="378">
                  <c:v>241.38164259999999</c:v>
                </c:pt>
                <c:pt idx="379">
                  <c:v>245.83678650000002</c:v>
                </c:pt>
                <c:pt idx="380">
                  <c:v>267.82722480000001</c:v>
                </c:pt>
                <c:pt idx="381">
                  <c:v>298.90329259999999</c:v>
                </c:pt>
                <c:pt idx="382">
                  <c:v>336.85849429999996</c:v>
                </c:pt>
                <c:pt idx="383">
                  <c:v>336.42217240000002</c:v>
                </c:pt>
                <c:pt idx="384">
                  <c:v>295.62350409999999</c:v>
                </c:pt>
                <c:pt idx="385">
                  <c:v>284.53412500000002</c:v>
                </c:pt>
                <c:pt idx="386">
                  <c:v>248.99444769999999</c:v>
                </c:pt>
                <c:pt idx="387">
                  <c:v>230.40167350000002</c:v>
                </c:pt>
                <c:pt idx="388">
                  <c:v>242.26022710000001</c:v>
                </c:pt>
                <c:pt idx="389">
                  <c:v>293.57550890000005</c:v>
                </c:pt>
                <c:pt idx="390">
                  <c:v>292.89587389999997</c:v>
                </c:pt>
                <c:pt idx="391">
                  <c:v>256.91158849999999</c:v>
                </c:pt>
                <c:pt idx="392">
                  <c:v>249.04276270000003</c:v>
                </c:pt>
                <c:pt idx="393">
                  <c:v>251.96417600000001</c:v>
                </c:pt>
                <c:pt idx="394">
                  <c:v>255.3174032</c:v>
                </c:pt>
                <c:pt idx="395">
                  <c:v>289.93653389999997</c:v>
                </c:pt>
                <c:pt idx="396">
                  <c:v>353.07633429999998</c:v>
                </c:pt>
                <c:pt idx="397">
                  <c:v>352.5199988</c:v>
                </c:pt>
                <c:pt idx="398">
                  <c:v>309.65005110000004</c:v>
                </c:pt>
                <c:pt idx="399">
                  <c:v>289.46307050000001</c:v>
                </c:pt>
                <c:pt idx="400">
                  <c:v>284.25727080000001</c:v>
                </c:pt>
                <c:pt idx="401">
                  <c:v>287.35168190000002</c:v>
                </c:pt>
                <c:pt idx="402">
                  <c:v>339.6481675</c:v>
                </c:pt>
                <c:pt idx="403">
                  <c:v>604.45492249999995</c:v>
                </c:pt>
                <c:pt idx="404">
                  <c:v>656.92152639999995</c:v>
                </c:pt>
                <c:pt idx="405">
                  <c:v>656.73580870000001</c:v>
                </c:pt>
                <c:pt idx="406">
                  <c:v>617.86420150000004</c:v>
                </c:pt>
                <c:pt idx="407">
                  <c:v>617.38205559999994</c:v>
                </c:pt>
                <c:pt idx="408">
                  <c:v>626.09066619999999</c:v>
                </c:pt>
                <c:pt idx="409">
                  <c:v>714.63290849999998</c:v>
                </c:pt>
                <c:pt idx="410">
                  <c:v>919.77082159999998</c:v>
                </c:pt>
                <c:pt idx="411">
                  <c:v>901.82881980000013</c:v>
                </c:pt>
                <c:pt idx="412">
                  <c:v>810.94771789999993</c:v>
                </c:pt>
                <c:pt idx="413">
                  <c:v>759.70675030000007</c:v>
                </c:pt>
                <c:pt idx="414">
                  <c:v>739.69043290000002</c:v>
                </c:pt>
                <c:pt idx="415">
                  <c:v>768.69029360000002</c:v>
                </c:pt>
                <c:pt idx="416">
                  <c:v>1067.5340817000001</c:v>
                </c:pt>
                <c:pt idx="417">
                  <c:v>1246.1482086000001</c:v>
                </c:pt>
                <c:pt idx="418">
                  <c:v>1167.3024443000002</c:v>
                </c:pt>
                <c:pt idx="419">
                  <c:v>1000.5132805999999</c:v>
                </c:pt>
                <c:pt idx="420">
                  <c:v>905.19828610000002</c:v>
                </c:pt>
                <c:pt idx="421">
                  <c:v>893.60440789999996</c:v>
                </c:pt>
                <c:pt idx="422">
                  <c:v>873.92989809999995</c:v>
                </c:pt>
                <c:pt idx="423">
                  <c:v>989.99916770000004</c:v>
                </c:pt>
                <c:pt idx="424">
                  <c:v>1204.731837</c:v>
                </c:pt>
                <c:pt idx="425">
                  <c:v>1182.6836082</c:v>
                </c:pt>
                <c:pt idx="426">
                  <c:v>1055.2505790999999</c:v>
                </c:pt>
                <c:pt idx="427">
                  <c:v>994.88315640000008</c:v>
                </c:pt>
                <c:pt idx="428">
                  <c:v>967.57408269999996</c:v>
                </c:pt>
                <c:pt idx="429">
                  <c:v>940.20082060000004</c:v>
                </c:pt>
                <c:pt idx="430">
                  <c:v>1020.6773048</c:v>
                </c:pt>
                <c:pt idx="431">
                  <c:v>1226.1668580999999</c:v>
                </c:pt>
                <c:pt idx="432">
                  <c:v>1188.5366425</c:v>
                </c:pt>
                <c:pt idx="433">
                  <c:v>1052.9656768000002</c:v>
                </c:pt>
                <c:pt idx="434">
                  <c:v>957.34758590000001</c:v>
                </c:pt>
                <c:pt idx="435">
                  <c:v>979.14093149999997</c:v>
                </c:pt>
                <c:pt idx="436">
                  <c:v>953.11068920000002</c:v>
                </c:pt>
                <c:pt idx="437">
                  <c:v>1055.7629934000001</c:v>
                </c:pt>
                <c:pt idx="438">
                  <c:v>1272.1355275999999</c:v>
                </c:pt>
                <c:pt idx="439">
                  <c:v>1275.7289193000001</c:v>
                </c:pt>
                <c:pt idx="440">
                  <c:v>1161.4313882000001</c:v>
                </c:pt>
                <c:pt idx="441">
                  <c:v>1092.9393876000001</c:v>
                </c:pt>
                <c:pt idx="442">
                  <c:v>1062.2263774999999</c:v>
                </c:pt>
                <c:pt idx="443">
                  <c:v>1092.3353104000003</c:v>
                </c:pt>
                <c:pt idx="444">
                  <c:v>1274.4392748000002</c:v>
                </c:pt>
                <c:pt idx="445">
                  <c:v>1531.3017901000001</c:v>
                </c:pt>
                <c:pt idx="446">
                  <c:v>1614.4743332999999</c:v>
                </c:pt>
                <c:pt idx="447">
                  <c:v>1473.6916332000001</c:v>
                </c:pt>
                <c:pt idx="448">
                  <c:v>1263.4244756999999</c:v>
                </c:pt>
                <c:pt idx="449">
                  <c:v>1164.6904668</c:v>
                </c:pt>
                <c:pt idx="450">
                  <c:v>1109.6894557999999</c:v>
                </c:pt>
                <c:pt idx="451">
                  <c:v>1220.4821830000001</c:v>
                </c:pt>
                <c:pt idx="452">
                  <c:v>1492.0060751000001</c:v>
                </c:pt>
                <c:pt idx="453">
                  <c:v>1431.443767</c:v>
                </c:pt>
                <c:pt idx="454">
                  <c:v>1217.6574486</c:v>
                </c:pt>
                <c:pt idx="455">
                  <c:v>1120.9648193</c:v>
                </c:pt>
                <c:pt idx="456">
                  <c:v>1057.5851101999999</c:v>
                </c:pt>
                <c:pt idx="457">
                  <c:v>1050.0982274</c:v>
                </c:pt>
                <c:pt idx="458">
                  <c:v>1243.5598569000001</c:v>
                </c:pt>
                <c:pt idx="459">
                  <c:v>1621.0949902</c:v>
                </c:pt>
                <c:pt idx="460">
                  <c:v>1596.5401047</c:v>
                </c:pt>
                <c:pt idx="461">
                  <c:v>957.9240628</c:v>
                </c:pt>
                <c:pt idx="462">
                  <c:v>574.75443770000004</c:v>
                </c:pt>
                <c:pt idx="463">
                  <c:v>344.85266259999997</c:v>
                </c:pt>
                <c:pt idx="464">
                  <c:v>206.91159759999999</c:v>
                </c:pt>
                <c:pt idx="465">
                  <c:v>124.1469585</c:v>
                </c:pt>
                <c:pt idx="466">
                  <c:v>74.488175100000007</c:v>
                </c:pt>
                <c:pt idx="467">
                  <c:v>44.692905099999997</c:v>
                </c:pt>
                <c:pt idx="468">
                  <c:v>1991.6452316</c:v>
                </c:pt>
                <c:pt idx="469">
                  <c:v>1590.2025111999999</c:v>
                </c:pt>
                <c:pt idx="470">
                  <c:v>1398.5657639999999</c:v>
                </c:pt>
                <c:pt idx="471">
                  <c:v>1328.7462429</c:v>
                </c:pt>
                <c:pt idx="472">
                  <c:v>1483.0779242999999</c:v>
                </c:pt>
                <c:pt idx="473">
                  <c:v>1825.7146796</c:v>
                </c:pt>
                <c:pt idx="474">
                  <c:v>1719.3984366</c:v>
                </c:pt>
                <c:pt idx="475">
                  <c:v>1488.7149839000001</c:v>
                </c:pt>
                <c:pt idx="476">
                  <c:v>1340.0957587</c:v>
                </c:pt>
                <c:pt idx="477">
                  <c:v>1310.0161892000001</c:v>
                </c:pt>
                <c:pt idx="478">
                  <c:v>1281.4132208000001</c:v>
                </c:pt>
                <c:pt idx="479">
                  <c:v>1632.2135628999999</c:v>
                </c:pt>
                <c:pt idx="480">
                  <c:v>1992.8894525000001</c:v>
                </c:pt>
                <c:pt idx="481">
                  <c:v>1958.7381303</c:v>
                </c:pt>
                <c:pt idx="482">
                  <c:v>1615.3612229</c:v>
                </c:pt>
                <c:pt idx="483">
                  <c:v>1402.0675452999999</c:v>
                </c:pt>
                <c:pt idx="484">
                  <c:v>1300.3063689000001</c:v>
                </c:pt>
                <c:pt idx="485">
                  <c:v>1241.9317289000001</c:v>
                </c:pt>
                <c:pt idx="486">
                  <c:v>1416.5406679</c:v>
                </c:pt>
                <c:pt idx="487">
                  <c:v>1778.0056832</c:v>
                </c:pt>
                <c:pt idx="488">
                  <c:v>1708.7688350000001</c:v>
                </c:pt>
                <c:pt idx="489">
                  <c:v>1466.504383</c:v>
                </c:pt>
                <c:pt idx="490">
                  <c:v>1352.3788004999999</c:v>
                </c:pt>
                <c:pt idx="491">
                  <c:v>1267.8110563</c:v>
                </c:pt>
                <c:pt idx="492">
                  <c:v>1241.4685566000001</c:v>
                </c:pt>
                <c:pt idx="493">
                  <c:v>1428.7951994</c:v>
                </c:pt>
                <c:pt idx="494">
                  <c:v>1413.2798903</c:v>
                </c:pt>
                <c:pt idx="495">
                  <c:v>1248.4236019</c:v>
                </c:pt>
                <c:pt idx="496">
                  <c:v>1015.5660458</c:v>
                </c:pt>
                <c:pt idx="497">
                  <c:v>876.49363330000006</c:v>
                </c:pt>
                <c:pt idx="498">
                  <c:v>625.33189230000005</c:v>
                </c:pt>
                <c:pt idx="499">
                  <c:v>375.19913540000005</c:v>
                </c:pt>
                <c:pt idx="500">
                  <c:v>225.1194812</c:v>
                </c:pt>
                <c:pt idx="501">
                  <c:v>135.0716888</c:v>
                </c:pt>
                <c:pt idx="502">
                  <c:v>81.043013299999998</c:v>
                </c:pt>
                <c:pt idx="503">
                  <c:v>48.625807999999999</c:v>
                </c:pt>
                <c:pt idx="504">
                  <c:v>29.1754848</c:v>
                </c:pt>
                <c:pt idx="505">
                  <c:v>17.505290899999999</c:v>
                </c:pt>
                <c:pt idx="506">
                  <c:v>10.5031745</c:v>
                </c:pt>
                <c:pt idx="507">
                  <c:v>6.3019046999999997</c:v>
                </c:pt>
                <c:pt idx="508">
                  <c:v>3.7811429000000003</c:v>
                </c:pt>
                <c:pt idx="509">
                  <c:v>2.2686856999999998</c:v>
                </c:pt>
                <c:pt idx="510">
                  <c:v>1.3612114</c:v>
                </c:pt>
                <c:pt idx="511">
                  <c:v>0.81672689999999992</c:v>
                </c:pt>
                <c:pt idx="512">
                  <c:v>0.49003609999999997</c:v>
                </c:pt>
                <c:pt idx="513">
                  <c:v>0.2940217</c:v>
                </c:pt>
                <c:pt idx="514">
                  <c:v>0.17641299999999999</c:v>
                </c:pt>
                <c:pt idx="515">
                  <c:v>0.10584780000000001</c:v>
                </c:pt>
                <c:pt idx="516">
                  <c:v>6.3508700000000001E-2</c:v>
                </c:pt>
                <c:pt idx="517">
                  <c:v>3.8105199999999999E-2</c:v>
                </c:pt>
                <c:pt idx="518">
                  <c:v>2.28632E-2</c:v>
                </c:pt>
                <c:pt idx="519">
                  <c:v>1.37178E-2</c:v>
                </c:pt>
                <c:pt idx="520">
                  <c:v>8.2307000000000005E-3</c:v>
                </c:pt>
                <c:pt idx="521">
                  <c:v>4.9383999999999999E-3</c:v>
                </c:pt>
                <c:pt idx="522">
                  <c:v>2.9630999999999998E-3</c:v>
                </c:pt>
                <c:pt idx="523">
                  <c:v>1.7778000000000002E-3</c:v>
                </c:pt>
                <c:pt idx="524">
                  <c:v>1.0667000000000001E-3</c:v>
                </c:pt>
                <c:pt idx="525">
                  <c:v>6.4000000000000005E-4</c:v>
                </c:pt>
                <c:pt idx="526">
                  <c:v>3.8400000000000001E-4</c:v>
                </c:pt>
                <c:pt idx="527">
                  <c:v>2.3039999999999999E-4</c:v>
                </c:pt>
                <c:pt idx="528">
                  <c:v>1.382E-4</c:v>
                </c:pt>
                <c:pt idx="529">
                  <c:v>8.2999999999999998E-5</c:v>
                </c:pt>
                <c:pt idx="530">
                  <c:v>4.9799999999999998E-5</c:v>
                </c:pt>
                <c:pt idx="531">
                  <c:v>2.9799999999999999E-5</c:v>
                </c:pt>
                <c:pt idx="532">
                  <c:v>1.7900000000000001E-5</c:v>
                </c:pt>
                <c:pt idx="533">
                  <c:v>1.0699999999999999E-5</c:v>
                </c:pt>
                <c:pt idx="534">
                  <c:v>6.5000000000000004E-6</c:v>
                </c:pt>
                <c:pt idx="535">
                  <c:v>3.8999999999999999E-6</c:v>
                </c:pt>
                <c:pt idx="536">
                  <c:v>2.3E-6</c:v>
                </c:pt>
                <c:pt idx="537">
                  <c:v>1.3999999999999999E-6</c:v>
                </c:pt>
                <c:pt idx="538">
                  <c:v>7.9999999999999996E-7</c:v>
                </c:pt>
                <c:pt idx="539">
                  <c:v>78.229434999999995</c:v>
                </c:pt>
                <c:pt idx="540">
                  <c:v>142.3546695</c:v>
                </c:pt>
                <c:pt idx="541">
                  <c:v>203.1993009</c:v>
                </c:pt>
                <c:pt idx="542">
                  <c:v>263.5882848</c:v>
                </c:pt>
                <c:pt idx="543">
                  <c:v>341.50630539999997</c:v>
                </c:pt>
                <c:pt idx="544">
                  <c:v>349.37532450000003</c:v>
                </c:pt>
                <c:pt idx="545">
                  <c:v>327.94519869999999</c:v>
                </c:pt>
                <c:pt idx="546">
                  <c:v>382.95766650000002</c:v>
                </c:pt>
                <c:pt idx="547">
                  <c:v>378.75410040000003</c:v>
                </c:pt>
                <c:pt idx="548">
                  <c:v>393.95795029999999</c:v>
                </c:pt>
                <c:pt idx="549">
                  <c:v>481.56174090000002</c:v>
                </c:pt>
                <c:pt idx="550">
                  <c:v>565.04301239999995</c:v>
                </c:pt>
                <c:pt idx="551">
                  <c:v>554.24097139999992</c:v>
                </c:pt>
                <c:pt idx="552">
                  <c:v>487.7484766</c:v>
                </c:pt>
                <c:pt idx="553">
                  <c:v>458.20441640000001</c:v>
                </c:pt>
                <c:pt idx="554">
                  <c:v>440.00438509999998</c:v>
                </c:pt>
                <c:pt idx="555">
                  <c:v>406.75773820000001</c:v>
                </c:pt>
                <c:pt idx="556">
                  <c:v>425.23861310000001</c:v>
                </c:pt>
                <c:pt idx="557">
                  <c:v>447.21982630000002</c:v>
                </c:pt>
                <c:pt idx="558">
                  <c:v>420.6942186</c:v>
                </c:pt>
                <c:pt idx="559">
                  <c:v>383.33175970000002</c:v>
                </c:pt>
                <c:pt idx="560">
                  <c:v>360.57600229999997</c:v>
                </c:pt>
                <c:pt idx="561">
                  <c:v>359.3713343</c:v>
                </c:pt>
                <c:pt idx="562">
                  <c:v>403.84304139999995</c:v>
                </c:pt>
                <c:pt idx="563">
                  <c:v>515.77319130000001</c:v>
                </c:pt>
                <c:pt idx="564">
                  <c:v>469.13313410000001</c:v>
                </c:pt>
                <c:pt idx="565">
                  <c:v>408.4033786</c:v>
                </c:pt>
                <c:pt idx="566">
                  <c:v>359.85502100000002</c:v>
                </c:pt>
                <c:pt idx="567">
                  <c:v>335.86789640000001</c:v>
                </c:pt>
                <c:pt idx="568">
                  <c:v>317.34857829999999</c:v>
                </c:pt>
                <c:pt idx="569">
                  <c:v>378.76470069999999</c:v>
                </c:pt>
                <c:pt idx="570">
                  <c:v>425.42455920000003</c:v>
                </c:pt>
                <c:pt idx="571">
                  <c:v>371.55617119999999</c:v>
                </c:pt>
                <c:pt idx="572">
                  <c:v>341.0618624</c:v>
                </c:pt>
                <c:pt idx="573">
                  <c:v>302.80662480000001</c:v>
                </c:pt>
                <c:pt idx="574">
                  <c:v>275.3205001</c:v>
                </c:pt>
                <c:pt idx="575">
                  <c:v>251.72489819999998</c:v>
                </c:pt>
                <c:pt idx="576">
                  <c:v>242.70942719999999</c:v>
                </c:pt>
                <c:pt idx="577">
                  <c:v>270.85774319999996</c:v>
                </c:pt>
                <c:pt idx="578">
                  <c:v>271.3062157</c:v>
                </c:pt>
                <c:pt idx="579">
                  <c:v>260.61495450000001</c:v>
                </c:pt>
                <c:pt idx="580">
                  <c:v>239.7893742</c:v>
                </c:pt>
                <c:pt idx="581">
                  <c:v>220.19009890000001</c:v>
                </c:pt>
                <c:pt idx="582">
                  <c:v>218.3083752</c:v>
                </c:pt>
                <c:pt idx="583">
                  <c:v>219.95325539999999</c:v>
                </c:pt>
                <c:pt idx="584">
                  <c:v>225.87910430000002</c:v>
                </c:pt>
                <c:pt idx="585">
                  <c:v>237.41807459999998</c:v>
                </c:pt>
                <c:pt idx="586">
                  <c:v>230.13360249999999</c:v>
                </c:pt>
                <c:pt idx="587">
                  <c:v>211.2844393</c:v>
                </c:pt>
                <c:pt idx="588">
                  <c:v>126.7706635</c:v>
                </c:pt>
                <c:pt idx="589">
                  <c:v>76.062398099999996</c:v>
                </c:pt>
                <c:pt idx="590">
                  <c:v>45.637438899999999</c:v>
                </c:pt>
                <c:pt idx="591">
                  <c:v>27.382463300000001</c:v>
                </c:pt>
                <c:pt idx="592">
                  <c:v>16.429478</c:v>
                </c:pt>
                <c:pt idx="593">
                  <c:v>9.8576867999999997</c:v>
                </c:pt>
                <c:pt idx="594">
                  <c:v>5.9146121000000003</c:v>
                </c:pt>
                <c:pt idx="595">
                  <c:v>3.5487671999999999</c:v>
                </c:pt>
                <c:pt idx="596">
                  <c:v>2.1292602999999999</c:v>
                </c:pt>
                <c:pt idx="597">
                  <c:v>1.2775562</c:v>
                </c:pt>
                <c:pt idx="598">
                  <c:v>0.76653369999999998</c:v>
                </c:pt>
                <c:pt idx="599">
                  <c:v>0.4599202</c:v>
                </c:pt>
                <c:pt idx="600">
                  <c:v>0.27595209999999998</c:v>
                </c:pt>
                <c:pt idx="601">
                  <c:v>33.452544099999997</c:v>
                </c:pt>
                <c:pt idx="602">
                  <c:v>104.98036980000001</c:v>
                </c:pt>
                <c:pt idx="603">
                  <c:v>155.1363053</c:v>
                </c:pt>
                <c:pt idx="604">
                  <c:v>188.34206320000001</c:v>
                </c:pt>
                <c:pt idx="605">
                  <c:v>227.1416672</c:v>
                </c:pt>
                <c:pt idx="606">
                  <c:v>277.01041400000003</c:v>
                </c:pt>
                <c:pt idx="607">
                  <c:v>293.87396749999999</c:v>
                </c:pt>
                <c:pt idx="608">
                  <c:v>354.7344362</c:v>
                </c:pt>
                <c:pt idx="609">
                  <c:v>329.41272309999999</c:v>
                </c:pt>
                <c:pt idx="610">
                  <c:v>305.22138760000001</c:v>
                </c:pt>
                <c:pt idx="611">
                  <c:v>285.83532200000002</c:v>
                </c:pt>
                <c:pt idx="612">
                  <c:v>296.7332801</c:v>
                </c:pt>
                <c:pt idx="613">
                  <c:v>321.8775784</c:v>
                </c:pt>
                <c:pt idx="614">
                  <c:v>322.48567730000002</c:v>
                </c:pt>
                <c:pt idx="615">
                  <c:v>305.66579860000002</c:v>
                </c:pt>
                <c:pt idx="616">
                  <c:v>293.81480379999999</c:v>
                </c:pt>
                <c:pt idx="617">
                  <c:v>283.86263600000001</c:v>
                </c:pt>
                <c:pt idx="618">
                  <c:v>288.44574139999997</c:v>
                </c:pt>
                <c:pt idx="619">
                  <c:v>297.01405920000002</c:v>
                </c:pt>
                <c:pt idx="620">
                  <c:v>325.56418120000001</c:v>
                </c:pt>
                <c:pt idx="621">
                  <c:v>316.57886509999997</c:v>
                </c:pt>
                <c:pt idx="622">
                  <c:v>296.64153900000002</c:v>
                </c:pt>
                <c:pt idx="623">
                  <c:v>177.98492340000001</c:v>
                </c:pt>
                <c:pt idx="624">
                  <c:v>106.790954</c:v>
                </c:pt>
                <c:pt idx="625">
                  <c:v>64.074572399999994</c:v>
                </c:pt>
                <c:pt idx="626">
                  <c:v>38.444743500000001</c:v>
                </c:pt>
                <c:pt idx="627">
                  <c:v>23.066846099999999</c:v>
                </c:pt>
                <c:pt idx="628">
                  <c:v>13.8401076</c:v>
                </c:pt>
                <c:pt idx="629">
                  <c:v>8.3040646000000002</c:v>
                </c:pt>
                <c:pt idx="630">
                  <c:v>21.287642900000002</c:v>
                </c:pt>
                <c:pt idx="631">
                  <c:v>157.28676060000001</c:v>
                </c:pt>
                <c:pt idx="632">
                  <c:v>203.50190839999999</c:v>
                </c:pt>
                <c:pt idx="633">
                  <c:v>247.73917059999999</c:v>
                </c:pt>
                <c:pt idx="634">
                  <c:v>281.52076799999998</c:v>
                </c:pt>
                <c:pt idx="635">
                  <c:v>274.18589530000003</c:v>
                </c:pt>
                <c:pt idx="636">
                  <c:v>240.21910349999999</c:v>
                </c:pt>
                <c:pt idx="637">
                  <c:v>222.95122499999999</c:v>
                </c:pt>
                <c:pt idx="638">
                  <c:v>215.36441239999999</c:v>
                </c:pt>
                <c:pt idx="639">
                  <c:v>207.7001281</c:v>
                </c:pt>
                <c:pt idx="640">
                  <c:v>219.0684795</c:v>
                </c:pt>
                <c:pt idx="641">
                  <c:v>246.05111210000001</c:v>
                </c:pt>
                <c:pt idx="642">
                  <c:v>244.5823585</c:v>
                </c:pt>
                <c:pt idx="643">
                  <c:v>218.73587670000001</c:v>
                </c:pt>
                <c:pt idx="644">
                  <c:v>299.89223859999998</c:v>
                </c:pt>
                <c:pt idx="645">
                  <c:v>308.84225930000002</c:v>
                </c:pt>
                <c:pt idx="646">
                  <c:v>284.97489530000001</c:v>
                </c:pt>
                <c:pt idx="647">
                  <c:v>300.77138719999999</c:v>
                </c:pt>
                <c:pt idx="648">
                  <c:v>335.71987430000001</c:v>
                </c:pt>
                <c:pt idx="649">
                  <c:v>330.1267355</c:v>
                </c:pt>
                <c:pt idx="650">
                  <c:v>486.24102960000005</c:v>
                </c:pt>
                <c:pt idx="651">
                  <c:v>408.34036660000004</c:v>
                </c:pt>
                <c:pt idx="652">
                  <c:v>324.02364869999997</c:v>
                </c:pt>
                <c:pt idx="653">
                  <c:v>278.70835090000003</c:v>
                </c:pt>
                <c:pt idx="654">
                  <c:v>274.3980775</c:v>
                </c:pt>
                <c:pt idx="655">
                  <c:v>294.14306469999997</c:v>
                </c:pt>
                <c:pt idx="656">
                  <c:v>283.48178189999999</c:v>
                </c:pt>
                <c:pt idx="657">
                  <c:v>259.09424459999997</c:v>
                </c:pt>
                <c:pt idx="658">
                  <c:v>443.33473670000001</c:v>
                </c:pt>
                <c:pt idx="659">
                  <c:v>485.14007989999999</c:v>
                </c:pt>
                <c:pt idx="660">
                  <c:v>515.43283250000002</c:v>
                </c:pt>
                <c:pt idx="661">
                  <c:v>541.52428850000001</c:v>
                </c:pt>
                <c:pt idx="662">
                  <c:v>550.5488302</c:v>
                </c:pt>
                <c:pt idx="663">
                  <c:v>553.18964080000001</c:v>
                </c:pt>
                <c:pt idx="664">
                  <c:v>540.70158570000001</c:v>
                </c:pt>
                <c:pt idx="665">
                  <c:v>456.41868320000003</c:v>
                </c:pt>
                <c:pt idx="666">
                  <c:v>417.2152251</c:v>
                </c:pt>
                <c:pt idx="667">
                  <c:v>385.50671990000001</c:v>
                </c:pt>
                <c:pt idx="668">
                  <c:v>399.29499449999997</c:v>
                </c:pt>
                <c:pt idx="669">
                  <c:v>442.81696920000002</c:v>
                </c:pt>
                <c:pt idx="670">
                  <c:v>433.81645700000001</c:v>
                </c:pt>
                <c:pt idx="671">
                  <c:v>432.94913179999998</c:v>
                </c:pt>
                <c:pt idx="672">
                  <c:v>429.72247870000001</c:v>
                </c:pt>
                <c:pt idx="673">
                  <c:v>427.58351740000001</c:v>
                </c:pt>
                <c:pt idx="674">
                  <c:v>488.0704786</c:v>
                </c:pt>
                <c:pt idx="675">
                  <c:v>591.68082189999996</c:v>
                </c:pt>
                <c:pt idx="676">
                  <c:v>675.90303019999999</c:v>
                </c:pt>
                <c:pt idx="677">
                  <c:v>619.13322729999993</c:v>
                </c:pt>
                <c:pt idx="678">
                  <c:v>577.58497010000008</c:v>
                </c:pt>
                <c:pt idx="679">
                  <c:v>841.03601290000006</c:v>
                </c:pt>
                <c:pt idx="680">
                  <c:v>833.45867080000005</c:v>
                </c:pt>
                <c:pt idx="681">
                  <c:v>754.57953609999993</c:v>
                </c:pt>
                <c:pt idx="682">
                  <c:v>826.71856920000005</c:v>
                </c:pt>
                <c:pt idx="683">
                  <c:v>961.44015379999996</c:v>
                </c:pt>
                <c:pt idx="684">
                  <c:v>855.93648519999999</c:v>
                </c:pt>
                <c:pt idx="685">
                  <c:v>698.86042350000014</c:v>
                </c:pt>
                <c:pt idx="686">
                  <c:v>589.30300309999996</c:v>
                </c:pt>
                <c:pt idx="687">
                  <c:v>528.58597129999998</c:v>
                </c:pt>
                <c:pt idx="688">
                  <c:v>499.33585419999997</c:v>
                </c:pt>
                <c:pt idx="689">
                  <c:v>598.31105149999996</c:v>
                </c:pt>
                <c:pt idx="690">
                  <c:v>745.15500099999997</c:v>
                </c:pt>
                <c:pt idx="691">
                  <c:v>815.95992039999999</c:v>
                </c:pt>
                <c:pt idx="692">
                  <c:v>751.26038760000006</c:v>
                </c:pt>
                <c:pt idx="693">
                  <c:v>880.09172110000009</c:v>
                </c:pt>
                <c:pt idx="694">
                  <c:v>925.2098236999999</c:v>
                </c:pt>
                <c:pt idx="695">
                  <c:v>909.37308859999996</c:v>
                </c:pt>
                <c:pt idx="696">
                  <c:v>1078.5085216</c:v>
                </c:pt>
                <c:pt idx="697">
                  <c:v>1288.2968601</c:v>
                </c:pt>
                <c:pt idx="698">
                  <c:v>1267.1075358000001</c:v>
                </c:pt>
                <c:pt idx="699">
                  <c:v>1133.6298184</c:v>
                </c:pt>
                <c:pt idx="700">
                  <c:v>1079.8413923000001</c:v>
                </c:pt>
                <c:pt idx="701">
                  <c:v>1044.9731191999999</c:v>
                </c:pt>
                <c:pt idx="702">
                  <c:v>1176.2184103999998</c:v>
                </c:pt>
                <c:pt idx="703">
                  <c:v>1276.592398</c:v>
                </c:pt>
                <c:pt idx="704">
                  <c:v>1526.9597291</c:v>
                </c:pt>
                <c:pt idx="705">
                  <c:v>1464.6318110999998</c:v>
                </c:pt>
                <c:pt idx="706">
                  <c:v>1399.2067107999999</c:v>
                </c:pt>
                <c:pt idx="707">
                  <c:v>1262.8040075000001</c:v>
                </c:pt>
                <c:pt idx="708">
                  <c:v>1198.9558936999999</c:v>
                </c:pt>
                <c:pt idx="709">
                  <c:v>1229.1607684999999</c:v>
                </c:pt>
                <c:pt idx="710">
                  <c:v>1593.0531770999999</c:v>
                </c:pt>
                <c:pt idx="711">
                  <c:v>2084.8380437999999</c:v>
                </c:pt>
                <c:pt idx="712">
                  <c:v>2093.9159909</c:v>
                </c:pt>
                <c:pt idx="713">
                  <c:v>1750.2194926</c:v>
                </c:pt>
                <c:pt idx="714">
                  <c:v>1530.7659841</c:v>
                </c:pt>
                <c:pt idx="715">
                  <c:v>1405.2358939000001</c:v>
                </c:pt>
                <c:pt idx="716">
                  <c:v>1404.5735975999999</c:v>
                </c:pt>
                <c:pt idx="717">
                  <c:v>1754.5305880000001</c:v>
                </c:pt>
                <c:pt idx="718">
                  <c:v>2490.3823631999999</c:v>
                </c:pt>
                <c:pt idx="719">
                  <c:v>2615.5364101</c:v>
                </c:pt>
                <c:pt idx="720">
                  <c:v>2334.8245133999999</c:v>
                </c:pt>
                <c:pt idx="721">
                  <c:v>2015.7882506999999</c:v>
                </c:pt>
                <c:pt idx="722">
                  <c:v>1785.1787082000001</c:v>
                </c:pt>
                <c:pt idx="723">
                  <c:v>1632.5392863000002</c:v>
                </c:pt>
                <c:pt idx="724">
                  <c:v>1764.3173561000001</c:v>
                </c:pt>
                <c:pt idx="725">
                  <c:v>2076.3482260000001</c:v>
                </c:pt>
                <c:pt idx="726">
                  <c:v>1948.8533674</c:v>
                </c:pt>
                <c:pt idx="727">
                  <c:v>1650.8113816</c:v>
                </c:pt>
                <c:pt idx="728">
                  <c:v>1481.6750022000001</c:v>
                </c:pt>
                <c:pt idx="729">
                  <c:v>1379.6741311000001</c:v>
                </c:pt>
                <c:pt idx="730">
                  <c:v>1346.6749723</c:v>
                </c:pt>
                <c:pt idx="731">
                  <c:v>1568.9227664</c:v>
                </c:pt>
                <c:pt idx="732">
                  <c:v>1957.2948199</c:v>
                </c:pt>
                <c:pt idx="733">
                  <c:v>2063.6714358999998</c:v>
                </c:pt>
                <c:pt idx="734">
                  <c:v>1784.4096466999999</c:v>
                </c:pt>
                <c:pt idx="735">
                  <c:v>1590.3813542</c:v>
                </c:pt>
                <c:pt idx="736">
                  <c:v>1594.3824726</c:v>
                </c:pt>
                <c:pt idx="737">
                  <c:v>1577.0594904</c:v>
                </c:pt>
                <c:pt idx="738">
                  <c:v>2095.5710359</c:v>
                </c:pt>
                <c:pt idx="739">
                  <c:v>2262.8164041</c:v>
                </c:pt>
                <c:pt idx="740">
                  <c:v>2052.1700563999998</c:v>
                </c:pt>
                <c:pt idx="741">
                  <c:v>1822.6656042</c:v>
                </c:pt>
                <c:pt idx="742">
                  <c:v>1681.1566138000001</c:v>
                </c:pt>
                <c:pt idx="743">
                  <c:v>1551.4404632999999</c:v>
                </c:pt>
                <c:pt idx="744">
                  <c:v>1523.0929208</c:v>
                </c:pt>
                <c:pt idx="745">
                  <c:v>1761.3672941</c:v>
                </c:pt>
                <c:pt idx="746">
                  <c:v>2290.2407664000002</c:v>
                </c:pt>
                <c:pt idx="747">
                  <c:v>2275.8095407999999</c:v>
                </c:pt>
                <c:pt idx="748">
                  <c:v>1982.4554412</c:v>
                </c:pt>
                <c:pt idx="749">
                  <c:v>1904.8882335000001</c:v>
                </c:pt>
                <c:pt idx="750">
                  <c:v>1762.9304106</c:v>
                </c:pt>
                <c:pt idx="751">
                  <c:v>1672.5652818000001</c:v>
                </c:pt>
                <c:pt idx="752">
                  <c:v>1848.6285077</c:v>
                </c:pt>
                <c:pt idx="753">
                  <c:v>2595.0256540999999</c:v>
                </c:pt>
                <c:pt idx="754">
                  <c:v>2508.7681719000002</c:v>
                </c:pt>
                <c:pt idx="755">
                  <c:v>2136.8503454000002</c:v>
                </c:pt>
                <c:pt idx="756">
                  <c:v>1971.3134789000001</c:v>
                </c:pt>
                <c:pt idx="757">
                  <c:v>1973.0318285000001</c:v>
                </c:pt>
                <c:pt idx="758">
                  <c:v>1854.5098169</c:v>
                </c:pt>
                <c:pt idx="759">
                  <c:v>1945.6842136</c:v>
                </c:pt>
                <c:pt idx="760">
                  <c:v>2241.3115465999999</c:v>
                </c:pt>
                <c:pt idx="761">
                  <c:v>3171.4740477999999</c:v>
                </c:pt>
                <c:pt idx="762">
                  <c:v>2828.7715400000002</c:v>
                </c:pt>
                <c:pt idx="763">
                  <c:v>2299.7859297999998</c:v>
                </c:pt>
                <c:pt idx="764">
                  <c:v>1963.7089973</c:v>
                </c:pt>
                <c:pt idx="765">
                  <c:v>1793.1189411</c:v>
                </c:pt>
                <c:pt idx="766">
                  <c:v>1946.1343134000001</c:v>
                </c:pt>
                <c:pt idx="767">
                  <c:v>2404.2152390000001</c:v>
                </c:pt>
                <c:pt idx="768">
                  <c:v>2412.3619385000002</c:v>
                </c:pt>
                <c:pt idx="769">
                  <c:v>2174.5106108</c:v>
                </c:pt>
                <c:pt idx="770">
                  <c:v>2185.9557361000002</c:v>
                </c:pt>
                <c:pt idx="771">
                  <c:v>2149.7422001999998</c:v>
                </c:pt>
                <c:pt idx="772">
                  <c:v>2086.5771052</c:v>
                </c:pt>
                <c:pt idx="773">
                  <c:v>2261.2263647999998</c:v>
                </c:pt>
                <c:pt idx="774">
                  <c:v>2644.6557772000001</c:v>
                </c:pt>
                <c:pt idx="775">
                  <c:v>2778.0848249000001</c:v>
                </c:pt>
                <c:pt idx="776">
                  <c:v>2314.5306859000002</c:v>
                </c:pt>
                <c:pt idx="777">
                  <c:v>2055.4297978</c:v>
                </c:pt>
                <c:pt idx="778">
                  <c:v>2005.9406478999999</c:v>
                </c:pt>
                <c:pt idx="779">
                  <c:v>1898.9096752</c:v>
                </c:pt>
                <c:pt idx="780">
                  <c:v>2148.1933705000001</c:v>
                </c:pt>
                <c:pt idx="781">
                  <c:v>2715.1610756</c:v>
                </c:pt>
                <c:pt idx="782">
                  <c:v>2671.2495024999998</c:v>
                </c:pt>
                <c:pt idx="783">
                  <c:v>2285.6379437999999</c:v>
                </c:pt>
                <c:pt idx="784">
                  <c:v>2029.4434274</c:v>
                </c:pt>
                <c:pt idx="785">
                  <c:v>1890.7789792999999</c:v>
                </c:pt>
                <c:pt idx="786">
                  <c:v>1868.3949081999999</c:v>
                </c:pt>
                <c:pt idx="787">
                  <c:v>2097.6173055999998</c:v>
                </c:pt>
                <c:pt idx="788">
                  <c:v>2659.4688119000002</c:v>
                </c:pt>
                <c:pt idx="789">
                  <c:v>2619.2350852999998</c:v>
                </c:pt>
                <c:pt idx="790">
                  <c:v>2364.4665172</c:v>
                </c:pt>
                <c:pt idx="791">
                  <c:v>2126.3092265</c:v>
                </c:pt>
                <c:pt idx="792">
                  <c:v>1976.8403009000001</c:v>
                </c:pt>
                <c:pt idx="793">
                  <c:v>1921.6753389</c:v>
                </c:pt>
                <c:pt idx="794">
                  <c:v>2075.4320247000001</c:v>
                </c:pt>
                <c:pt idx="795">
                  <c:v>2577.1248568000001</c:v>
                </c:pt>
                <c:pt idx="796">
                  <c:v>2575.5381907999999</c:v>
                </c:pt>
                <c:pt idx="797">
                  <c:v>2215.0620546</c:v>
                </c:pt>
                <c:pt idx="798">
                  <c:v>1993.7589522000001</c:v>
                </c:pt>
                <c:pt idx="799">
                  <c:v>1854.3160324999999</c:v>
                </c:pt>
                <c:pt idx="800">
                  <c:v>1832.7624871</c:v>
                </c:pt>
                <c:pt idx="801">
                  <c:v>2011.1843999</c:v>
                </c:pt>
                <c:pt idx="802">
                  <c:v>2509.5963526999999</c:v>
                </c:pt>
                <c:pt idx="803">
                  <c:v>2518.3251888999998</c:v>
                </c:pt>
                <c:pt idx="804">
                  <c:v>2169.6613252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1CB-4DAD-968A-131BF851268F}"/>
            </c:ext>
          </c:extLst>
        </c:ser>
        <c:ser>
          <c:idx val="1"/>
          <c:order val="3"/>
          <c:tx>
            <c:strRef>
              <c:f>Sheet1!$C$1</c:f>
              <c:strCache>
                <c:ptCount val="1"/>
                <c:pt idx="0">
                  <c:v>Covid</c:v>
                </c:pt>
              </c:strCache>
            </c:strRef>
          </c:tx>
          <c:spPr>
            <a:solidFill>
              <a:srgbClr val="FF0000"/>
            </a:solidFill>
            <a:ln w="12700">
              <a:solidFill>
                <a:srgbClr val="FF0000"/>
              </a:solidFill>
            </a:ln>
            <a:effectLst/>
          </c:spPr>
          <c:invertIfNegative val="0"/>
          <c:val>
            <c:numRef>
              <c:f>Sheet1!$C$2:$C$806</c:f>
              <c:numCache>
                <c:formatCode>#,##0</c:formatCode>
                <c:ptCount val="8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-11.5346177</c:v>
                </c:pt>
                <c:pt idx="250">
                  <c:v>-25.3250846</c:v>
                </c:pt>
                <c:pt idx="251">
                  <c:v>-30.475227199999999</c:v>
                </c:pt>
                <c:pt idx="252">
                  <c:v>-38.306850599999997</c:v>
                </c:pt>
                <c:pt idx="253">
                  <c:v>-47.883562699999999</c:v>
                </c:pt>
                <c:pt idx="254">
                  <c:v>-59.2053656</c:v>
                </c:pt>
                <c:pt idx="255">
                  <c:v>-66.994424600000002</c:v>
                </c:pt>
                <c:pt idx="256">
                  <c:v>-52.863453900000003</c:v>
                </c:pt>
                <c:pt idx="257">
                  <c:v>-34.391038399999999</c:v>
                </c:pt>
                <c:pt idx="258">
                  <c:v>-33.156706900000003</c:v>
                </c:pt>
                <c:pt idx="259">
                  <c:v>-25.665589499999999</c:v>
                </c:pt>
                <c:pt idx="260">
                  <c:v>-19.962125100000002</c:v>
                </c:pt>
                <c:pt idx="261">
                  <c:v>-11.2366762</c:v>
                </c:pt>
                <c:pt idx="262">
                  <c:v>-5.7034643000000003</c:v>
                </c:pt>
                <c:pt idx="263">
                  <c:v>-12.8966393</c:v>
                </c:pt>
                <c:pt idx="264">
                  <c:v>-9.5341488000000005</c:v>
                </c:pt>
                <c:pt idx="265">
                  <c:v>-9.6618388999999993</c:v>
                </c:pt>
                <c:pt idx="266">
                  <c:v>-14.5566023</c:v>
                </c:pt>
                <c:pt idx="267">
                  <c:v>-15.9186239</c:v>
                </c:pt>
                <c:pt idx="268">
                  <c:v>-20.472883499999998</c:v>
                </c:pt>
                <c:pt idx="269">
                  <c:v>-20.345193399999999</c:v>
                </c:pt>
                <c:pt idx="270">
                  <c:v>-15.237613100000001</c:v>
                </c:pt>
                <c:pt idx="271">
                  <c:v>-26.7722318</c:v>
                </c:pt>
                <c:pt idx="272">
                  <c:v>-30.177285699999999</c:v>
                </c:pt>
                <c:pt idx="273">
                  <c:v>-33.0715802</c:v>
                </c:pt>
                <c:pt idx="274">
                  <c:v>-41.201145099999998</c:v>
                </c:pt>
                <c:pt idx="275">
                  <c:v>-52.522948</c:v>
                </c:pt>
                <c:pt idx="276">
                  <c:v>-72.868142399999996</c:v>
                </c:pt>
                <c:pt idx="277">
                  <c:v>-99.512685200000007</c:v>
                </c:pt>
                <c:pt idx="278">
                  <c:v>-128.3279493</c:v>
                </c:pt>
                <c:pt idx="279">
                  <c:v>-154.80223960000001</c:v>
                </c:pt>
                <c:pt idx="280">
                  <c:v>-196.64183310000001</c:v>
                </c:pt>
                <c:pt idx="281">
                  <c:v>-241.50341119999999</c:v>
                </c:pt>
                <c:pt idx="282">
                  <c:v>-285.85423200000002</c:v>
                </c:pt>
                <c:pt idx="283">
                  <c:v>-331.52451000000002</c:v>
                </c:pt>
                <c:pt idx="284">
                  <c:v>-382.77056320000003</c:v>
                </c:pt>
                <c:pt idx="285">
                  <c:v>-433.84636490000003</c:v>
                </c:pt>
                <c:pt idx="286">
                  <c:v>-485.04985479999999</c:v>
                </c:pt>
                <c:pt idx="287">
                  <c:v>-535.57233489999999</c:v>
                </c:pt>
                <c:pt idx="288">
                  <c:v>-583.92409250000003</c:v>
                </c:pt>
                <c:pt idx="289">
                  <c:v>-630.27538230000005</c:v>
                </c:pt>
                <c:pt idx="290">
                  <c:v>-670.28475930000002</c:v>
                </c:pt>
                <c:pt idx="291">
                  <c:v>-702.67532970000002</c:v>
                </c:pt>
                <c:pt idx="292">
                  <c:v>-731.74597300000005</c:v>
                </c:pt>
                <c:pt idx="293">
                  <c:v>-758.3905158</c:v>
                </c:pt>
                <c:pt idx="294">
                  <c:v>-769.45693949999998</c:v>
                </c:pt>
                <c:pt idx="295">
                  <c:v>-775.88397699999996</c:v>
                </c:pt>
                <c:pt idx="296">
                  <c:v>-779.58697340000003</c:v>
                </c:pt>
                <c:pt idx="297">
                  <c:v>-781.50231559999997</c:v>
                </c:pt>
                <c:pt idx="298">
                  <c:v>-778.73570910000001</c:v>
                </c:pt>
                <c:pt idx="299">
                  <c:v>-772.47892409999997</c:v>
                </c:pt>
                <c:pt idx="300">
                  <c:v>-771.79791339999997</c:v>
                </c:pt>
                <c:pt idx="301">
                  <c:v>-770.26563940000005</c:v>
                </c:pt>
                <c:pt idx="302">
                  <c:v>-768.39285949999999</c:v>
                </c:pt>
                <c:pt idx="303">
                  <c:v>-765.20062250000001</c:v>
                </c:pt>
                <c:pt idx="304">
                  <c:v>-770.09538689999999</c:v>
                </c:pt>
                <c:pt idx="305">
                  <c:v>-770.13794929999995</c:v>
                </c:pt>
                <c:pt idx="306">
                  <c:v>-772.22354499999994</c:v>
                </c:pt>
                <c:pt idx="307">
                  <c:v>-781.63000469999997</c:v>
                </c:pt>
                <c:pt idx="308">
                  <c:v>-781.50231559999997</c:v>
                </c:pt>
                <c:pt idx="309">
                  <c:v>-780.22542080000005</c:v>
                </c:pt>
                <c:pt idx="310">
                  <c:v>-781.2043731</c:v>
                </c:pt>
                <c:pt idx="311">
                  <c:v>-776.47986200000003</c:v>
                </c:pt>
                <c:pt idx="312">
                  <c:v>-776.0967928</c:v>
                </c:pt>
                <c:pt idx="313">
                  <c:v>-772.22354499999994</c:v>
                </c:pt>
                <c:pt idx="314">
                  <c:v>-759.66741060000004</c:v>
                </c:pt>
                <c:pt idx="315">
                  <c:v>-757.75206839999998</c:v>
                </c:pt>
                <c:pt idx="316">
                  <c:v>-755.79416279999998</c:v>
                </c:pt>
                <c:pt idx="317">
                  <c:v>-752.47423560000004</c:v>
                </c:pt>
                <c:pt idx="318">
                  <c:v>-746.89846039999998</c:v>
                </c:pt>
                <c:pt idx="319">
                  <c:v>-742.47189089999995</c:v>
                </c:pt>
                <c:pt idx="320">
                  <c:v>-737.83250559999999</c:v>
                </c:pt>
                <c:pt idx="321">
                  <c:v>-735.66178420000006</c:v>
                </c:pt>
                <c:pt idx="322">
                  <c:v>-739.87553790000004</c:v>
                </c:pt>
                <c:pt idx="323">
                  <c:v>-740.08835369999997</c:v>
                </c:pt>
                <c:pt idx="324">
                  <c:v>-742.13138600000002</c:v>
                </c:pt>
                <c:pt idx="325">
                  <c:v>-742.34420179999995</c:v>
                </c:pt>
                <c:pt idx="326">
                  <c:v>-738.13044809999997</c:v>
                </c:pt>
                <c:pt idx="327">
                  <c:v>-739.57759539999995</c:v>
                </c:pt>
                <c:pt idx="328">
                  <c:v>-736.93867899999998</c:v>
                </c:pt>
                <c:pt idx="329">
                  <c:v>-729.36243579999996</c:v>
                </c:pt>
                <c:pt idx="330">
                  <c:v>-724.38254459999996</c:v>
                </c:pt>
                <c:pt idx="331">
                  <c:v>-716.76373809999996</c:v>
                </c:pt>
                <c:pt idx="332">
                  <c:v>-718.59395359999996</c:v>
                </c:pt>
                <c:pt idx="333">
                  <c:v>-716.33810649999998</c:v>
                </c:pt>
                <c:pt idx="334">
                  <c:v>-717.18936970000004</c:v>
                </c:pt>
                <c:pt idx="335">
                  <c:v>-717.18936970000004</c:v>
                </c:pt>
                <c:pt idx="336">
                  <c:v>-713.9545693</c:v>
                </c:pt>
                <c:pt idx="337">
                  <c:v>-714.29507409999997</c:v>
                </c:pt>
                <c:pt idx="338">
                  <c:v>-714.67814239999996</c:v>
                </c:pt>
                <c:pt idx="339">
                  <c:v>-705.39937180000004</c:v>
                </c:pt>
                <c:pt idx="340">
                  <c:v>-702.33482379999998</c:v>
                </c:pt>
                <c:pt idx="341">
                  <c:v>-689.94894190000002</c:v>
                </c:pt>
                <c:pt idx="342">
                  <c:v>-682.75576690000003</c:v>
                </c:pt>
                <c:pt idx="343">
                  <c:v>-677.86100239999996</c:v>
                </c:pt>
                <c:pt idx="344">
                  <c:v>-670.36988499999995</c:v>
                </c:pt>
                <c:pt idx="345">
                  <c:v>-665.17717900000002</c:v>
                </c:pt>
                <c:pt idx="346">
                  <c:v>-661.77212510000004</c:v>
                </c:pt>
                <c:pt idx="347">
                  <c:v>-658.96295629999997</c:v>
                </c:pt>
                <c:pt idx="348">
                  <c:v>-653.25949200000002</c:v>
                </c:pt>
                <c:pt idx="349">
                  <c:v>-658.11169310000002</c:v>
                </c:pt>
                <c:pt idx="350">
                  <c:v>-655.81328259999998</c:v>
                </c:pt>
                <c:pt idx="351">
                  <c:v>-654.28100870000003</c:v>
                </c:pt>
                <c:pt idx="352">
                  <c:v>-651.17389730000002</c:v>
                </c:pt>
                <c:pt idx="353">
                  <c:v>-646.78989120000006</c:v>
                </c:pt>
                <c:pt idx="354">
                  <c:v>-637.08548900000005</c:v>
                </c:pt>
                <c:pt idx="355">
                  <c:v>-632.65891950000002</c:v>
                </c:pt>
                <c:pt idx="356">
                  <c:v>-620.95404829999995</c:v>
                </c:pt>
                <c:pt idx="357">
                  <c:v>-616.65516790000004</c:v>
                </c:pt>
                <c:pt idx="358">
                  <c:v>-615.50596310000003</c:v>
                </c:pt>
                <c:pt idx="359">
                  <c:v>-615.08033049999995</c:v>
                </c:pt>
                <c:pt idx="360">
                  <c:v>-615.76134130000003</c:v>
                </c:pt>
                <c:pt idx="361">
                  <c:v>-622.74170140000001</c:v>
                </c:pt>
                <c:pt idx="362">
                  <c:v>-625.59343360000003</c:v>
                </c:pt>
                <c:pt idx="363">
                  <c:v>-626.31700669999998</c:v>
                </c:pt>
                <c:pt idx="364">
                  <c:v>-626.27444439999999</c:v>
                </c:pt>
                <c:pt idx="365">
                  <c:v>-627.72159160000001</c:v>
                </c:pt>
                <c:pt idx="366">
                  <c:v>-627.80671830000006</c:v>
                </c:pt>
                <c:pt idx="367">
                  <c:v>-626.78520170000002</c:v>
                </c:pt>
                <c:pt idx="368">
                  <c:v>-614.2290673</c:v>
                </c:pt>
                <c:pt idx="369">
                  <c:v>-608.01484570000002</c:v>
                </c:pt>
                <c:pt idx="370">
                  <c:v>-602.56675949999999</c:v>
                </c:pt>
                <c:pt idx="371">
                  <c:v>-598.26788009999996</c:v>
                </c:pt>
                <c:pt idx="372">
                  <c:v>-591.50033670000005</c:v>
                </c:pt>
                <c:pt idx="373">
                  <c:v>-587.88246709999999</c:v>
                </c:pt>
                <c:pt idx="374">
                  <c:v>-581.49799199999995</c:v>
                </c:pt>
                <c:pt idx="375">
                  <c:v>-577.02885909999998</c:v>
                </c:pt>
                <c:pt idx="376">
                  <c:v>-574.85813770000004</c:v>
                </c:pt>
                <c:pt idx="377">
                  <c:v>-572.26178470000002</c:v>
                </c:pt>
                <c:pt idx="378">
                  <c:v>-568.81416750000005</c:v>
                </c:pt>
                <c:pt idx="379">
                  <c:v>-563.49377240000001</c:v>
                </c:pt>
                <c:pt idx="380">
                  <c:v>-555.78983919999996</c:v>
                </c:pt>
                <c:pt idx="381">
                  <c:v>-550.93763799999999</c:v>
                </c:pt>
                <c:pt idx="382">
                  <c:v>-555.06626500000004</c:v>
                </c:pt>
                <c:pt idx="383">
                  <c:v>-552.34222190000003</c:v>
                </c:pt>
                <c:pt idx="384">
                  <c:v>-553.06579609999994</c:v>
                </c:pt>
                <c:pt idx="385">
                  <c:v>-556.17290739999999</c:v>
                </c:pt>
                <c:pt idx="386">
                  <c:v>-557.79030809999995</c:v>
                </c:pt>
                <c:pt idx="387">
                  <c:v>-560.42922450000003</c:v>
                </c:pt>
                <c:pt idx="388">
                  <c:v>-560.34409770000002</c:v>
                </c:pt>
                <c:pt idx="389">
                  <c:v>-552.29965960000004</c:v>
                </c:pt>
                <c:pt idx="390">
                  <c:v>-543.27626810000004</c:v>
                </c:pt>
                <c:pt idx="391">
                  <c:v>-539.1050778</c:v>
                </c:pt>
                <c:pt idx="392">
                  <c:v>-533.65699159999997</c:v>
                </c:pt>
                <c:pt idx="393">
                  <c:v>-532.46522349999998</c:v>
                </c:pt>
                <c:pt idx="394">
                  <c:v>-529.52836460000003</c:v>
                </c:pt>
                <c:pt idx="395">
                  <c:v>445.1394391</c:v>
                </c:pt>
                <c:pt idx="396">
                  <c:v>1717.9911983000002</c:v>
                </c:pt>
                <c:pt idx="397">
                  <c:v>492.16986280000003</c:v>
                </c:pt>
                <c:pt idx="398">
                  <c:v>-607.46563819999994</c:v>
                </c:pt>
                <c:pt idx="399">
                  <c:v>-514.24818819999996</c:v>
                </c:pt>
                <c:pt idx="400">
                  <c:v>-512.24771920000001</c:v>
                </c:pt>
                <c:pt idx="401">
                  <c:v>-510.20468690000001</c:v>
                </c:pt>
                <c:pt idx="402">
                  <c:v>461.01550060000005</c:v>
                </c:pt>
                <c:pt idx="403">
                  <c:v>1727.8658530000002</c:v>
                </c:pt>
                <c:pt idx="404">
                  <c:v>490.7652779</c:v>
                </c:pt>
                <c:pt idx="405">
                  <c:v>-611.21119699999997</c:v>
                </c:pt>
                <c:pt idx="406">
                  <c:v>-517.90862019999997</c:v>
                </c:pt>
                <c:pt idx="407">
                  <c:v>-514.80150890000004</c:v>
                </c:pt>
                <c:pt idx="408">
                  <c:v>-514.20562480000001</c:v>
                </c:pt>
                <c:pt idx="409">
                  <c:v>456.07817380000006</c:v>
                </c:pt>
                <c:pt idx="410">
                  <c:v>1716.9696827000002</c:v>
                </c:pt>
                <c:pt idx="411">
                  <c:v>494.46827429999996</c:v>
                </c:pt>
                <c:pt idx="412">
                  <c:v>-609.38098049999996</c:v>
                </c:pt>
                <c:pt idx="413">
                  <c:v>-514.97176130000003</c:v>
                </c:pt>
                <c:pt idx="414">
                  <c:v>-513.48205069999995</c:v>
                </c:pt>
                <c:pt idx="415">
                  <c:v>-510.67288189999999</c:v>
                </c:pt>
                <c:pt idx="416">
                  <c:v>461.14319070000005</c:v>
                </c:pt>
                <c:pt idx="417">
                  <c:v>1735.7826021000001</c:v>
                </c:pt>
                <c:pt idx="418">
                  <c:v>509.49307160000001</c:v>
                </c:pt>
                <c:pt idx="419">
                  <c:v>-588.05683379999994</c:v>
                </c:pt>
                <c:pt idx="420">
                  <c:v>-494.32862540000002</c:v>
                </c:pt>
                <c:pt idx="421">
                  <c:v>-494.32862540000002</c:v>
                </c:pt>
                <c:pt idx="422">
                  <c:v>-495.17988860000003</c:v>
                </c:pt>
                <c:pt idx="423">
                  <c:v>473.44394590000007</c:v>
                </c:pt>
                <c:pt idx="424">
                  <c:v>1737.4851295000003</c:v>
                </c:pt>
                <c:pt idx="425">
                  <c:v>506.8115919</c:v>
                </c:pt>
                <c:pt idx="426">
                  <c:v>-593.54748229999996</c:v>
                </c:pt>
                <c:pt idx="427">
                  <c:v>-500.96847969999999</c:v>
                </c:pt>
                <c:pt idx="428">
                  <c:v>-502.33050020000002</c:v>
                </c:pt>
                <c:pt idx="429">
                  <c:v>-504.4586592</c:v>
                </c:pt>
                <c:pt idx="430">
                  <c:v>465.99539180000005</c:v>
                </c:pt>
                <c:pt idx="431">
                  <c:v>1730.0791377</c:v>
                </c:pt>
                <c:pt idx="432">
                  <c:v>497.91589049999999</c:v>
                </c:pt>
                <c:pt idx="433">
                  <c:v>-603.7200795</c:v>
                </c:pt>
                <c:pt idx="434">
                  <c:v>-509.52367609999999</c:v>
                </c:pt>
                <c:pt idx="435">
                  <c:v>-511.396455</c:v>
                </c:pt>
                <c:pt idx="436">
                  <c:v>-506.96988549999998</c:v>
                </c:pt>
                <c:pt idx="437">
                  <c:v>465.44207010000002</c:v>
                </c:pt>
                <c:pt idx="438">
                  <c:v>1738.5066452000001</c:v>
                </c:pt>
                <c:pt idx="439">
                  <c:v>513.4514461</c:v>
                </c:pt>
                <c:pt idx="440">
                  <c:v>-585.46048080000003</c:v>
                </c:pt>
                <c:pt idx="441">
                  <c:v>-492.5835356</c:v>
                </c:pt>
                <c:pt idx="442">
                  <c:v>-484.07090149999999</c:v>
                </c:pt>
                <c:pt idx="443">
                  <c:v>-485.85855459999999</c:v>
                </c:pt>
                <c:pt idx="444">
                  <c:v>1802.9437235</c:v>
                </c:pt>
                <c:pt idx="445">
                  <c:v>3729.1343204999998</c:v>
                </c:pt>
                <c:pt idx="446">
                  <c:v>1842.7937462999998</c:v>
                </c:pt>
                <c:pt idx="447">
                  <c:v>-440.49897019999992</c:v>
                </c:pt>
                <c:pt idx="448">
                  <c:v>-483.90064899999999</c:v>
                </c:pt>
                <c:pt idx="449">
                  <c:v>-485.09241809999997</c:v>
                </c:pt>
                <c:pt idx="450">
                  <c:v>-479.6868953</c:v>
                </c:pt>
                <c:pt idx="451">
                  <c:v>1181.5351805999999</c:v>
                </c:pt>
                <c:pt idx="452">
                  <c:v>3114.9189535</c:v>
                </c:pt>
                <c:pt idx="453">
                  <c:v>1222.1087774999999</c:v>
                </c:pt>
                <c:pt idx="454">
                  <c:v>-1033.5178794999999</c:v>
                </c:pt>
                <c:pt idx="455">
                  <c:v>-443.295388</c:v>
                </c:pt>
                <c:pt idx="456">
                  <c:v>-436.4852803</c:v>
                </c:pt>
                <c:pt idx="457">
                  <c:v>-428.99416280000003</c:v>
                </c:pt>
                <c:pt idx="458">
                  <c:v>1230.6530757</c:v>
                </c:pt>
                <c:pt idx="459">
                  <c:v>3160.1210375000001</c:v>
                </c:pt>
                <c:pt idx="460">
                  <c:v>1274.2486572999999</c:v>
                </c:pt>
                <c:pt idx="461">
                  <c:v>-996.10485560000006</c:v>
                </c:pt>
                <c:pt idx="462">
                  <c:v>-409.7556118</c:v>
                </c:pt>
                <c:pt idx="463">
                  <c:v>-407.62745280000001</c:v>
                </c:pt>
                <c:pt idx="464">
                  <c:v>-407.62745280000001</c:v>
                </c:pt>
                <c:pt idx="465">
                  <c:v>1246.8696421</c:v>
                </c:pt>
                <c:pt idx="466">
                  <c:v>3172.2089768999999</c:v>
                </c:pt>
                <c:pt idx="467">
                  <c:v>1276.9727002999998</c:v>
                </c:pt>
                <c:pt idx="468">
                  <c:v>-996.9986821</c:v>
                </c:pt>
                <c:pt idx="469">
                  <c:v>-413.96936549999998</c:v>
                </c:pt>
                <c:pt idx="470">
                  <c:v>-416.86366099999998</c:v>
                </c:pt>
                <c:pt idx="471">
                  <c:v>-420.14102480000003</c:v>
                </c:pt>
                <c:pt idx="472">
                  <c:v>1232.3130388</c:v>
                </c:pt>
                <c:pt idx="473">
                  <c:v>3155.2262729999998</c:v>
                </c:pt>
                <c:pt idx="474">
                  <c:v>1254.9249794999998</c:v>
                </c:pt>
                <c:pt idx="475">
                  <c:v>-1021.3448143999999</c:v>
                </c:pt>
                <c:pt idx="476">
                  <c:v>-440.31596569999999</c:v>
                </c:pt>
                <c:pt idx="477">
                  <c:v>-439.33701350000001</c:v>
                </c:pt>
                <c:pt idx="478">
                  <c:v>-438.06011760000001</c:v>
                </c:pt>
                <c:pt idx="479">
                  <c:v>1214.6067607999998</c:v>
                </c:pt>
                <c:pt idx="480">
                  <c:v>3141.0101746</c:v>
                </c:pt>
                <c:pt idx="481">
                  <c:v>1244.2416239999998</c:v>
                </c:pt>
                <c:pt idx="482">
                  <c:v>-1027.5590361</c:v>
                </c:pt>
                <c:pt idx="483">
                  <c:v>-442.95488210000002</c:v>
                </c:pt>
                <c:pt idx="484">
                  <c:v>-442.74206629999998</c:v>
                </c:pt>
                <c:pt idx="485">
                  <c:v>-443.50820379999999</c:v>
                </c:pt>
                <c:pt idx="486">
                  <c:v>1213.329866</c:v>
                </c:pt>
                <c:pt idx="487">
                  <c:v>3143.0106434999998</c:v>
                </c:pt>
                <c:pt idx="488">
                  <c:v>1262.3735336</c:v>
                </c:pt>
                <c:pt idx="489">
                  <c:v>-1014.1942018</c:v>
                </c:pt>
                <c:pt idx="490">
                  <c:v>-433.37817000000001</c:v>
                </c:pt>
                <c:pt idx="491">
                  <c:v>-433.5909858</c:v>
                </c:pt>
                <c:pt idx="492">
                  <c:v>-432.22896420000001</c:v>
                </c:pt>
                <c:pt idx="493">
                  <c:v>1224.4814154000001</c:v>
                </c:pt>
                <c:pt idx="494">
                  <c:v>3143.9895968000001</c:v>
                </c:pt>
                <c:pt idx="495">
                  <c:v>1244.5821298999999</c:v>
                </c:pt>
                <c:pt idx="496">
                  <c:v>-1031.8579165000001</c:v>
                </c:pt>
                <c:pt idx="497">
                  <c:v>-450.78650549999998</c:v>
                </c:pt>
                <c:pt idx="498">
                  <c:v>-458.27762289999998</c:v>
                </c:pt>
                <c:pt idx="499">
                  <c:v>-463.0872607</c:v>
                </c:pt>
                <c:pt idx="500">
                  <c:v>498.68390380000005</c:v>
                </c:pt>
                <c:pt idx="501">
                  <c:v>1764.8532454000001</c:v>
                </c:pt>
                <c:pt idx="502">
                  <c:v>535.92479860000003</c:v>
                </c:pt>
                <c:pt idx="503">
                  <c:v>-570.30799339999999</c:v>
                </c:pt>
                <c:pt idx="504">
                  <c:v>-484.28371829999998</c:v>
                </c:pt>
                <c:pt idx="505">
                  <c:v>-485.9436814</c:v>
                </c:pt>
                <c:pt idx="506">
                  <c:v>-492.49840890000002</c:v>
                </c:pt>
                <c:pt idx="507">
                  <c:v>477.74282530000005</c:v>
                </c:pt>
                <c:pt idx="508">
                  <c:v>3283.4552471000002</c:v>
                </c:pt>
                <c:pt idx="509">
                  <c:v>521.49588530000005</c:v>
                </c:pt>
                <c:pt idx="510">
                  <c:v>-570.30799339999999</c:v>
                </c:pt>
                <c:pt idx="511">
                  <c:v>-462.02318170000001</c:v>
                </c:pt>
                <c:pt idx="512">
                  <c:v>-443.93383540000002</c:v>
                </c:pt>
                <c:pt idx="513">
                  <c:v>-448.01989900000001</c:v>
                </c:pt>
                <c:pt idx="514">
                  <c:v>-460.06527610000001</c:v>
                </c:pt>
                <c:pt idx="515">
                  <c:v>-481.30429600000002</c:v>
                </c:pt>
                <c:pt idx="516">
                  <c:v>-509.39598710000001</c:v>
                </c:pt>
                <c:pt idx="517">
                  <c:v>-523.22901630000001</c:v>
                </c:pt>
                <c:pt idx="518">
                  <c:v>-540.55222500000002</c:v>
                </c:pt>
                <c:pt idx="519">
                  <c:v>-563.70658820000006</c:v>
                </c:pt>
                <c:pt idx="520">
                  <c:v>-562.51481909999995</c:v>
                </c:pt>
                <c:pt idx="521">
                  <c:v>-558.93951379999999</c:v>
                </c:pt>
                <c:pt idx="522">
                  <c:v>-562.0466242</c:v>
                </c:pt>
                <c:pt idx="523">
                  <c:v>-561.74868260000005</c:v>
                </c:pt>
                <c:pt idx="524">
                  <c:v>-562.51481909999995</c:v>
                </c:pt>
                <c:pt idx="525">
                  <c:v>-562.85532499999999</c:v>
                </c:pt>
                <c:pt idx="526">
                  <c:v>-563.06814080000004</c:v>
                </c:pt>
                <c:pt idx="527">
                  <c:v>-564.38759900000002</c:v>
                </c:pt>
                <c:pt idx="528">
                  <c:v>-566.00499869999999</c:v>
                </c:pt>
                <c:pt idx="529">
                  <c:v>-558.47131790000003</c:v>
                </c:pt>
                <c:pt idx="530">
                  <c:v>-552.85298030000001</c:v>
                </c:pt>
                <c:pt idx="531">
                  <c:v>-551.78890130000002</c:v>
                </c:pt>
                <c:pt idx="532">
                  <c:v>-551.49095869999996</c:v>
                </c:pt>
                <c:pt idx="533">
                  <c:v>-551.06532709999999</c:v>
                </c:pt>
                <c:pt idx="534">
                  <c:v>-549.7458689</c:v>
                </c:pt>
                <c:pt idx="535">
                  <c:v>-549.02229480000005</c:v>
                </c:pt>
                <c:pt idx="536">
                  <c:v>-548.00077920000001</c:v>
                </c:pt>
                <c:pt idx="537">
                  <c:v>-549.83099570000002</c:v>
                </c:pt>
                <c:pt idx="538">
                  <c:v>-549.23511159999998</c:v>
                </c:pt>
                <c:pt idx="539">
                  <c:v>-547.31976840000004</c:v>
                </c:pt>
                <c:pt idx="540">
                  <c:v>-538.97738770000001</c:v>
                </c:pt>
                <c:pt idx="541">
                  <c:v>-531.01807529999996</c:v>
                </c:pt>
                <c:pt idx="542">
                  <c:v>726.97236139999995</c:v>
                </c:pt>
                <c:pt idx="543">
                  <c:v>750.12672359999999</c:v>
                </c:pt>
                <c:pt idx="544">
                  <c:v>771.6211237</c:v>
                </c:pt>
                <c:pt idx="545">
                  <c:v>-466.79025610000002</c:v>
                </c:pt>
                <c:pt idx="546">
                  <c:v>-459.8950226</c:v>
                </c:pt>
                <c:pt idx="547">
                  <c:v>-459.25657519999999</c:v>
                </c:pt>
                <c:pt idx="548">
                  <c:v>-457.55404879999998</c:v>
                </c:pt>
                <c:pt idx="549">
                  <c:v>789.36996410000006</c:v>
                </c:pt>
                <c:pt idx="550">
                  <c:v>788.5187009</c:v>
                </c:pt>
                <c:pt idx="551">
                  <c:v>784.34751059999996</c:v>
                </c:pt>
                <c:pt idx="552">
                  <c:v>-461.08679169999999</c:v>
                </c:pt>
                <c:pt idx="553">
                  <c:v>-457.51148540000003</c:v>
                </c:pt>
                <c:pt idx="554">
                  <c:v>-463.12982410000001</c:v>
                </c:pt>
                <c:pt idx="555">
                  <c:v>-469.72711500000003</c:v>
                </c:pt>
                <c:pt idx="556">
                  <c:v>-482.11299589999999</c:v>
                </c:pt>
                <c:pt idx="557">
                  <c:v>-496.7121626</c:v>
                </c:pt>
                <c:pt idx="558">
                  <c:v>-515.3973929</c:v>
                </c:pt>
                <c:pt idx="559">
                  <c:v>-538.76457189999996</c:v>
                </c:pt>
                <c:pt idx="560">
                  <c:v>-566.6434471</c:v>
                </c:pt>
                <c:pt idx="561">
                  <c:v>-585.79687239999998</c:v>
                </c:pt>
                <c:pt idx="562">
                  <c:v>-610.99426689999996</c:v>
                </c:pt>
                <c:pt idx="563">
                  <c:v>1283.4468587000001</c:v>
                </c:pt>
                <c:pt idx="564">
                  <c:v>-519.02997449999998</c:v>
                </c:pt>
                <c:pt idx="565">
                  <c:v>-725.27637119999997</c:v>
                </c:pt>
                <c:pt idx="566">
                  <c:v>-743.74878569999998</c:v>
                </c:pt>
                <c:pt idx="567">
                  <c:v>-754.00650959999996</c:v>
                </c:pt>
                <c:pt idx="568">
                  <c:v>-762.13607449999995</c:v>
                </c:pt>
                <c:pt idx="569">
                  <c:v>-117.54053650000003</c:v>
                </c:pt>
                <c:pt idx="570">
                  <c:v>-103.70750729999997</c:v>
                </c:pt>
                <c:pt idx="571">
                  <c:v>-739.535032</c:v>
                </c:pt>
                <c:pt idx="572">
                  <c:v>-739.32221619999996</c:v>
                </c:pt>
                <c:pt idx="573">
                  <c:v>-725.78712949999999</c:v>
                </c:pt>
                <c:pt idx="574">
                  <c:v>-721.57337580000001</c:v>
                </c:pt>
                <c:pt idx="575">
                  <c:v>-717.82781709999995</c:v>
                </c:pt>
                <c:pt idx="576">
                  <c:v>-712.89048920000005</c:v>
                </c:pt>
                <c:pt idx="577">
                  <c:v>-691.26840110000001</c:v>
                </c:pt>
                <c:pt idx="578">
                  <c:v>-687.94847389999995</c:v>
                </c:pt>
                <c:pt idx="579">
                  <c:v>-692.63042159999998</c:v>
                </c:pt>
                <c:pt idx="580">
                  <c:v>-693.39655909999999</c:v>
                </c:pt>
                <c:pt idx="581">
                  <c:v>-693.39655909999999</c:v>
                </c:pt>
                <c:pt idx="582">
                  <c:v>-695.05652210000005</c:v>
                </c:pt>
                <c:pt idx="583">
                  <c:v>-697.44005930000003</c:v>
                </c:pt>
                <c:pt idx="584">
                  <c:v>-697.01442770000006</c:v>
                </c:pt>
                <c:pt idx="585">
                  <c:v>-699.35540260000005</c:v>
                </c:pt>
                <c:pt idx="586">
                  <c:v>-695.05652210000005</c:v>
                </c:pt>
                <c:pt idx="587">
                  <c:v>-695.31190130000005</c:v>
                </c:pt>
                <c:pt idx="588">
                  <c:v>-694.9713964</c:v>
                </c:pt>
                <c:pt idx="589">
                  <c:v>-694.92883310000002</c:v>
                </c:pt>
                <c:pt idx="590">
                  <c:v>-692.24735329999999</c:v>
                </c:pt>
                <c:pt idx="591">
                  <c:v>-689.99150520000001</c:v>
                </c:pt>
                <c:pt idx="592">
                  <c:v>-684.96905170000002</c:v>
                </c:pt>
                <c:pt idx="593">
                  <c:v>-689.94894290000002</c:v>
                </c:pt>
                <c:pt idx="594">
                  <c:v>-688.24641540000005</c:v>
                </c:pt>
                <c:pt idx="595">
                  <c:v>-687.99103630000002</c:v>
                </c:pt>
                <c:pt idx="596">
                  <c:v>-685.30955759999995</c:v>
                </c:pt>
                <c:pt idx="597">
                  <c:v>-683.22396189999995</c:v>
                </c:pt>
                <c:pt idx="598">
                  <c:v>-680.88298810000003</c:v>
                </c:pt>
                <c:pt idx="599">
                  <c:v>-684.11778849999996</c:v>
                </c:pt>
                <c:pt idx="600">
                  <c:v>-677.17999269999996</c:v>
                </c:pt>
                <c:pt idx="601">
                  <c:v>-675.1795237</c:v>
                </c:pt>
                <c:pt idx="602">
                  <c:v>-671.60421740000004</c:v>
                </c:pt>
                <c:pt idx="603">
                  <c:v>-671.47652840000001</c:v>
                </c:pt>
                <c:pt idx="604">
                  <c:v>-673.00880229999996</c:v>
                </c:pt>
                <c:pt idx="605">
                  <c:v>-673.17905480000002</c:v>
                </c:pt>
                <c:pt idx="606">
                  <c:v>-669.09299020000003</c:v>
                </c:pt>
                <c:pt idx="607">
                  <c:v>-676.66923440000005</c:v>
                </c:pt>
                <c:pt idx="608">
                  <c:v>-680.11685060000002</c:v>
                </c:pt>
                <c:pt idx="609">
                  <c:v>-684.07522510000001</c:v>
                </c:pt>
                <c:pt idx="610">
                  <c:v>-683.64959350000004</c:v>
                </c:pt>
                <c:pt idx="611">
                  <c:v>-682.41526199999998</c:v>
                </c:pt>
                <c:pt idx="612">
                  <c:v>-683.64959350000004</c:v>
                </c:pt>
                <c:pt idx="613">
                  <c:v>-682.67064119999998</c:v>
                </c:pt>
                <c:pt idx="614">
                  <c:v>-674.66876539999998</c:v>
                </c:pt>
                <c:pt idx="615">
                  <c:v>-669.77400090000003</c:v>
                </c:pt>
                <c:pt idx="616">
                  <c:v>-665.26230569999996</c:v>
                </c:pt>
                <c:pt idx="617">
                  <c:v>-662.24032009999996</c:v>
                </c:pt>
                <c:pt idx="618">
                  <c:v>-659.21833549999997</c:v>
                </c:pt>
                <c:pt idx="619">
                  <c:v>-655.6430292</c:v>
                </c:pt>
                <c:pt idx="620">
                  <c:v>-647.30064849999997</c:v>
                </c:pt>
                <c:pt idx="621">
                  <c:v>-639.63927860000001</c:v>
                </c:pt>
                <c:pt idx="622">
                  <c:v>-638.14956800000004</c:v>
                </c:pt>
                <c:pt idx="623">
                  <c:v>-633.93581429999995</c:v>
                </c:pt>
                <c:pt idx="624">
                  <c:v>-630.82870290000005</c:v>
                </c:pt>
                <c:pt idx="625">
                  <c:v>-628.74310830000002</c:v>
                </c:pt>
                <c:pt idx="626">
                  <c:v>-623.59296459999996</c:v>
                </c:pt>
                <c:pt idx="627">
                  <c:v>-620.06022170000006</c:v>
                </c:pt>
                <c:pt idx="628">
                  <c:v>-619.54946340000004</c:v>
                </c:pt>
                <c:pt idx="629">
                  <c:v>-617.50643109999999</c:v>
                </c:pt>
                <c:pt idx="630">
                  <c:v>-618.1448795</c:v>
                </c:pt>
                <c:pt idx="631">
                  <c:v>-619.03870500000005</c:v>
                </c:pt>
                <c:pt idx="632">
                  <c:v>-618.91101600000002</c:v>
                </c:pt>
                <c:pt idx="633">
                  <c:v>-620.01765829999999</c:v>
                </c:pt>
                <c:pt idx="634">
                  <c:v>-623.67809039999997</c:v>
                </c:pt>
                <c:pt idx="635">
                  <c:v>-622.61401130000002</c:v>
                </c:pt>
                <c:pt idx="636">
                  <c:v>-616.91054699999995</c:v>
                </c:pt>
                <c:pt idx="637">
                  <c:v>-608.05740800000001</c:v>
                </c:pt>
                <c:pt idx="638">
                  <c:v>-602.86470199999997</c:v>
                </c:pt>
                <c:pt idx="639">
                  <c:v>-594.99051629999997</c:v>
                </c:pt>
                <c:pt idx="640">
                  <c:v>-587.92503039999997</c:v>
                </c:pt>
                <c:pt idx="641">
                  <c:v>-585.54149319999999</c:v>
                </c:pt>
                <c:pt idx="642">
                  <c:v>-582.30669179999995</c:v>
                </c:pt>
                <c:pt idx="643">
                  <c:v>-579.02932810000004</c:v>
                </c:pt>
                <c:pt idx="644">
                  <c:v>-578.22062819999996</c:v>
                </c:pt>
                <c:pt idx="645">
                  <c:v>-572.60229059999995</c:v>
                </c:pt>
                <c:pt idx="646">
                  <c:v>-571.32539480000003</c:v>
                </c:pt>
                <c:pt idx="647">
                  <c:v>-566.68600949999995</c:v>
                </c:pt>
                <c:pt idx="648">
                  <c:v>-564.77066720000005</c:v>
                </c:pt>
                <c:pt idx="649">
                  <c:v>-563.57889809999995</c:v>
                </c:pt>
                <c:pt idx="650">
                  <c:v>-560.81229269999994</c:v>
                </c:pt>
                <c:pt idx="651">
                  <c:v>-559.40770780000003</c:v>
                </c:pt>
                <c:pt idx="652">
                  <c:v>-558.98207620000005</c:v>
                </c:pt>
                <c:pt idx="653">
                  <c:v>-556.98160719999998</c:v>
                </c:pt>
                <c:pt idx="654">
                  <c:v>-560.21640869999999</c:v>
                </c:pt>
                <c:pt idx="655">
                  <c:v>-555.87496490000001</c:v>
                </c:pt>
                <c:pt idx="656">
                  <c:v>-558.93951279999999</c:v>
                </c:pt>
                <c:pt idx="657">
                  <c:v>-556.55597560000001</c:v>
                </c:pt>
                <c:pt idx="658">
                  <c:v>-550.0012481</c:v>
                </c:pt>
                <c:pt idx="659">
                  <c:v>-544.12753129999999</c:v>
                </c:pt>
                <c:pt idx="660">
                  <c:v>-539.61583510000003</c:v>
                </c:pt>
                <c:pt idx="661">
                  <c:v>431.66222029999994</c:v>
                </c:pt>
                <c:pt idx="662">
                  <c:v>921.17449739999995</c:v>
                </c:pt>
                <c:pt idx="663">
                  <c:v>934.62445839999998</c:v>
                </c:pt>
                <c:pt idx="664">
                  <c:v>1047.3247354999999</c:v>
                </c:pt>
                <c:pt idx="665">
                  <c:v>-580.17853379999997</c:v>
                </c:pt>
                <c:pt idx="666">
                  <c:v>-588.5209145</c:v>
                </c:pt>
                <c:pt idx="667">
                  <c:v>-595.20333210000001</c:v>
                </c:pt>
                <c:pt idx="668">
                  <c:v>389.59450650000008</c:v>
                </c:pt>
                <c:pt idx="669">
                  <c:v>1657.5515012000001</c:v>
                </c:pt>
                <c:pt idx="670">
                  <c:v>425.81388460000005</c:v>
                </c:pt>
                <c:pt idx="671">
                  <c:v>-644.41046729999994</c:v>
                </c:pt>
                <c:pt idx="672">
                  <c:v>-541.36092489999999</c:v>
                </c:pt>
                <c:pt idx="673">
                  <c:v>-530.93294949999995</c:v>
                </c:pt>
                <c:pt idx="674">
                  <c:v>-521.48392650000005</c:v>
                </c:pt>
                <c:pt idx="675">
                  <c:v>459.56835330000007</c:v>
                </c:pt>
                <c:pt idx="676">
                  <c:v>1751.0627795000003</c:v>
                </c:pt>
                <c:pt idx="677">
                  <c:v>540.64931060000004</c:v>
                </c:pt>
                <c:pt idx="678">
                  <c:v>-555.70882670000003</c:v>
                </c:pt>
                <c:pt idx="679">
                  <c:v>-454.87256910000002</c:v>
                </c:pt>
                <c:pt idx="680">
                  <c:v>-450.3608739</c:v>
                </c:pt>
                <c:pt idx="681">
                  <c:v>-444.57228279999998</c:v>
                </c:pt>
                <c:pt idx="682">
                  <c:v>533.24519559999999</c:v>
                </c:pt>
                <c:pt idx="683">
                  <c:v>1800.3509272000001</c:v>
                </c:pt>
                <c:pt idx="684">
                  <c:v>565.46363680000002</c:v>
                </c:pt>
                <c:pt idx="685">
                  <c:v>-537.66204379999999</c:v>
                </c:pt>
                <c:pt idx="686">
                  <c:v>-445.2107302</c:v>
                </c:pt>
                <c:pt idx="687">
                  <c:v>-446.48762499999998</c:v>
                </c:pt>
                <c:pt idx="688">
                  <c:v>-446.01943010000002</c:v>
                </c:pt>
                <c:pt idx="689">
                  <c:v>524.39205660000005</c:v>
                </c:pt>
                <c:pt idx="690">
                  <c:v>1788.646056</c:v>
                </c:pt>
                <c:pt idx="691">
                  <c:v>562.82472050000001</c:v>
                </c:pt>
                <c:pt idx="692">
                  <c:v>69.104769100000013</c:v>
                </c:pt>
                <c:pt idx="693">
                  <c:v>-471.77014630000002</c:v>
                </c:pt>
                <c:pt idx="694">
                  <c:v>-469.59942489999997</c:v>
                </c:pt>
                <c:pt idx="695">
                  <c:v>-468.70559830000002</c:v>
                </c:pt>
                <c:pt idx="696">
                  <c:v>500.93975190000003</c:v>
                </c:pt>
                <c:pt idx="697">
                  <c:v>1756.8513706000001</c:v>
                </c:pt>
                <c:pt idx="698">
                  <c:v>529.02956610000001</c:v>
                </c:pt>
                <c:pt idx="699">
                  <c:v>-546.64287189999993</c:v>
                </c:pt>
                <c:pt idx="700">
                  <c:v>-449.67986309999998</c:v>
                </c:pt>
                <c:pt idx="701">
                  <c:v>-446.53018839999999</c:v>
                </c:pt>
                <c:pt idx="702">
                  <c:v>-447.50914069999999</c:v>
                </c:pt>
                <c:pt idx="703">
                  <c:v>523.03003600000011</c:v>
                </c:pt>
                <c:pt idx="704">
                  <c:v>1799.7550431000002</c:v>
                </c:pt>
                <c:pt idx="705">
                  <c:v>561.84576719999995</c:v>
                </c:pt>
                <c:pt idx="706">
                  <c:v>-536.21489650000001</c:v>
                </c:pt>
                <c:pt idx="707">
                  <c:v>-441.89080310000003</c:v>
                </c:pt>
                <c:pt idx="708">
                  <c:v>-440.4010925</c:v>
                </c:pt>
                <c:pt idx="709">
                  <c:v>-438.61343929999998</c:v>
                </c:pt>
                <c:pt idx="710">
                  <c:v>1218.9907668999999</c:v>
                </c:pt>
                <c:pt idx="711">
                  <c:v>3154.5026988999998</c:v>
                </c:pt>
                <c:pt idx="712">
                  <c:v>1272.4184406999998</c:v>
                </c:pt>
                <c:pt idx="713">
                  <c:v>-1003.4257206</c:v>
                </c:pt>
                <c:pt idx="714">
                  <c:v>-422.18405710000002</c:v>
                </c:pt>
                <c:pt idx="715">
                  <c:v>-422.7799412</c:v>
                </c:pt>
                <c:pt idx="716">
                  <c:v>-418.14055589999998</c:v>
                </c:pt>
                <c:pt idx="717">
                  <c:v>1241.0810511</c:v>
                </c:pt>
                <c:pt idx="718">
                  <c:v>3808.0889963999998</c:v>
                </c:pt>
                <c:pt idx="719">
                  <c:v>1299.829121</c:v>
                </c:pt>
                <c:pt idx="720">
                  <c:v>-354.0106133999999</c:v>
                </c:pt>
                <c:pt idx="721">
                  <c:v>-402.26449430000002</c:v>
                </c:pt>
                <c:pt idx="722">
                  <c:v>-404.17983659999999</c:v>
                </c:pt>
                <c:pt idx="723">
                  <c:v>-408.13821109999998</c:v>
                </c:pt>
                <c:pt idx="724">
                  <c:v>1236.4416658</c:v>
                </c:pt>
                <c:pt idx="725">
                  <c:v>3162.5471379999999</c:v>
                </c:pt>
                <c:pt idx="726">
                  <c:v>1260.8838229999999</c:v>
                </c:pt>
                <c:pt idx="727">
                  <c:v>-997.25406129999999</c:v>
                </c:pt>
                <c:pt idx="728">
                  <c:v>-409.28741680000002</c:v>
                </c:pt>
                <c:pt idx="729">
                  <c:v>-403.9670208</c:v>
                </c:pt>
                <c:pt idx="730">
                  <c:v>-398.94456719999999</c:v>
                </c:pt>
                <c:pt idx="731">
                  <c:v>1266.7466416</c:v>
                </c:pt>
                <c:pt idx="732">
                  <c:v>3193.4905601999999</c:v>
                </c:pt>
                <c:pt idx="733">
                  <c:v>1306.9797325999998</c:v>
                </c:pt>
                <c:pt idx="734">
                  <c:v>-965.54450159999999</c:v>
                </c:pt>
                <c:pt idx="735">
                  <c:v>-381.87673660000002</c:v>
                </c:pt>
                <c:pt idx="736">
                  <c:v>-382.2172425</c:v>
                </c:pt>
                <c:pt idx="737">
                  <c:v>-385.62229530000002</c:v>
                </c:pt>
                <c:pt idx="738">
                  <c:v>1262.9159560999999</c:v>
                </c:pt>
                <c:pt idx="739">
                  <c:v>3181.8282523999997</c:v>
                </c:pt>
                <c:pt idx="740">
                  <c:v>1278.8454791999998</c:v>
                </c:pt>
                <c:pt idx="741">
                  <c:v>-1000.5739884</c:v>
                </c:pt>
                <c:pt idx="742">
                  <c:v>-419.20463489999997</c:v>
                </c:pt>
                <c:pt idx="743">
                  <c:v>-420.4389663</c:v>
                </c:pt>
                <c:pt idx="744">
                  <c:v>-418.99181909999999</c:v>
                </c:pt>
                <c:pt idx="745">
                  <c:v>1239.9318464</c:v>
                </c:pt>
                <c:pt idx="746">
                  <c:v>3177.2739938</c:v>
                </c:pt>
                <c:pt idx="747">
                  <c:v>1289.4011446</c:v>
                </c:pt>
                <c:pt idx="748">
                  <c:v>-980.95236819999991</c:v>
                </c:pt>
                <c:pt idx="749">
                  <c:v>-398.56149900000003</c:v>
                </c:pt>
                <c:pt idx="750">
                  <c:v>-400.60453030000002</c:v>
                </c:pt>
                <c:pt idx="751">
                  <c:v>-399.49788790000002</c:v>
                </c:pt>
                <c:pt idx="752">
                  <c:v>1255.0417703999999</c:v>
                </c:pt>
                <c:pt idx="753">
                  <c:v>3178.8913935</c:v>
                </c:pt>
                <c:pt idx="754">
                  <c:v>1288.6775705</c:v>
                </c:pt>
                <c:pt idx="755">
                  <c:v>-982.65489460000003</c:v>
                </c:pt>
                <c:pt idx="756">
                  <c:v>-395.965146</c:v>
                </c:pt>
                <c:pt idx="757">
                  <c:v>-390.47449749999998</c:v>
                </c:pt>
                <c:pt idx="758">
                  <c:v>-391.32576069999999</c:v>
                </c:pt>
                <c:pt idx="759">
                  <c:v>1262.5328878</c:v>
                </c:pt>
                <c:pt idx="760">
                  <c:v>3189.1065540999998</c:v>
                </c:pt>
                <c:pt idx="761">
                  <c:v>1315.1944242</c:v>
                </c:pt>
                <c:pt idx="762">
                  <c:v>-960.01128969999991</c:v>
                </c:pt>
                <c:pt idx="763">
                  <c:v>-376.81171970000003</c:v>
                </c:pt>
                <c:pt idx="764">
                  <c:v>-378.51424709999998</c:v>
                </c:pt>
                <c:pt idx="765">
                  <c:v>-378.51424709999998</c:v>
                </c:pt>
                <c:pt idx="766">
                  <c:v>1277.5576862</c:v>
                </c:pt>
                <c:pt idx="767">
                  <c:v>3208.217416</c:v>
                </c:pt>
                <c:pt idx="768">
                  <c:v>1304.5961953999999</c:v>
                </c:pt>
                <c:pt idx="769">
                  <c:v>-968.56648619999999</c:v>
                </c:pt>
                <c:pt idx="770">
                  <c:v>-385.9628012</c:v>
                </c:pt>
                <c:pt idx="771">
                  <c:v>-387.70789100000002</c:v>
                </c:pt>
                <c:pt idx="772">
                  <c:v>-387.83558010000002</c:v>
                </c:pt>
                <c:pt idx="773">
                  <c:v>1263.5969669000001</c:v>
                </c:pt>
                <c:pt idx="774">
                  <c:v>3185.7440636000001</c:v>
                </c:pt>
                <c:pt idx="775">
                  <c:v>1289.3585813</c:v>
                </c:pt>
                <c:pt idx="776">
                  <c:v>-987.54965909999999</c:v>
                </c:pt>
                <c:pt idx="777">
                  <c:v>-408.26590119999997</c:v>
                </c:pt>
                <c:pt idx="778">
                  <c:v>-413.7991131</c:v>
                </c:pt>
                <c:pt idx="779">
                  <c:v>-415.24626030000002</c:v>
                </c:pt>
                <c:pt idx="780">
                  <c:v>1236.0585974999999</c:v>
                </c:pt>
                <c:pt idx="781">
                  <c:v>3165.5265592999999</c:v>
                </c:pt>
                <c:pt idx="782">
                  <c:v>1277.3132051999999</c:v>
                </c:pt>
                <c:pt idx="783">
                  <c:v>-996.82842970000002</c:v>
                </c:pt>
                <c:pt idx="784">
                  <c:v>-412.43709150000001</c:v>
                </c:pt>
                <c:pt idx="785">
                  <c:v>-408.13821109999998</c:v>
                </c:pt>
                <c:pt idx="786">
                  <c:v>-410.39405920000002</c:v>
                </c:pt>
                <c:pt idx="787">
                  <c:v>1243.9327831999999</c:v>
                </c:pt>
                <c:pt idx="788">
                  <c:v>3169.0593021999998</c:v>
                </c:pt>
                <c:pt idx="789">
                  <c:v>1275.2276095</c:v>
                </c:pt>
                <c:pt idx="790">
                  <c:v>-999.89297769999996</c:v>
                </c:pt>
                <c:pt idx="791">
                  <c:v>-412.8201598</c:v>
                </c:pt>
                <c:pt idx="792">
                  <c:v>-412.47965490000001</c:v>
                </c:pt>
                <c:pt idx="793">
                  <c:v>-410.22380679999998</c:v>
                </c:pt>
                <c:pt idx="794">
                  <c:v>1246.2737580999999</c:v>
                </c:pt>
                <c:pt idx="795">
                  <c:v>3182.0836316</c:v>
                </c:pt>
                <c:pt idx="796">
                  <c:v>1298.8501676999999</c:v>
                </c:pt>
                <c:pt idx="797">
                  <c:v>-972.39717169999994</c:v>
                </c:pt>
                <c:pt idx="798">
                  <c:v>-391.32576069999999</c:v>
                </c:pt>
                <c:pt idx="799">
                  <c:v>-392.00677139999999</c:v>
                </c:pt>
                <c:pt idx="800">
                  <c:v>-392.77290790000001</c:v>
                </c:pt>
                <c:pt idx="801">
                  <c:v>1261.7667504000001</c:v>
                </c:pt>
                <c:pt idx="802">
                  <c:v>3183.6584689000001</c:v>
                </c:pt>
                <c:pt idx="803">
                  <c:v>1288.8903863</c:v>
                </c:pt>
                <c:pt idx="804">
                  <c:v>-984.0594794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F6-4EEF-B0A5-986C6925D57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Referrals</c:v>
                </c:pt>
              </c:strCache>
            </c:strRef>
          </c:tx>
          <c:spPr>
            <a:solidFill>
              <a:schemeClr val="accent1"/>
            </a:solidFill>
            <a:ln w="12700">
              <a:solidFill>
                <a:schemeClr val="accent1"/>
              </a:solidFill>
            </a:ln>
            <a:effectLst/>
          </c:spPr>
          <c:invertIfNegative val="0"/>
          <c:cat>
            <c:numRef>
              <c:f>Sheet1!$A$2:$A$806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F$2:$F$806</c:f>
              <c:numCache>
                <c:formatCode>#,##0</c:formatCode>
                <c:ptCount val="8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.18699270000000001</c:v>
                </c:pt>
                <c:pt idx="56">
                  <c:v>0.52538879999999999</c:v>
                </c:pt>
                <c:pt idx="57">
                  <c:v>0.98467890000000002</c:v>
                </c:pt>
                <c:pt idx="58">
                  <c:v>1.5387892999999999</c:v>
                </c:pt>
                <c:pt idx="59">
                  <c:v>2.1655142000000001</c:v>
                </c:pt>
                <c:pt idx="60">
                  <c:v>2.8460150999999998</c:v>
                </c:pt>
                <c:pt idx="61">
                  <c:v>3.5643815999999999</c:v>
                </c:pt>
                <c:pt idx="62">
                  <c:v>4.3072444000000001</c:v>
                </c:pt>
                <c:pt idx="63">
                  <c:v>5.0634356</c:v>
                </c:pt>
                <c:pt idx="64">
                  <c:v>5.8236913000000001</c:v>
                </c:pt>
                <c:pt idx="65">
                  <c:v>6.5803899000000001</c:v>
                </c:pt>
                <c:pt idx="66">
                  <c:v>7.3273235000000003</c:v>
                </c:pt>
                <c:pt idx="67">
                  <c:v>8.0594982000000002</c:v>
                </c:pt>
                <c:pt idx="68">
                  <c:v>8.7729587000000002</c:v>
                </c:pt>
                <c:pt idx="69">
                  <c:v>9.4646363000000004</c:v>
                </c:pt>
                <c:pt idx="70">
                  <c:v>10.1322157</c:v>
                </c:pt>
                <c:pt idx="71">
                  <c:v>10.7740198</c:v>
                </c:pt>
                <c:pt idx="72">
                  <c:v>11.388908600000001</c:v>
                </c:pt>
                <c:pt idx="73">
                  <c:v>11.9761927</c:v>
                </c:pt>
                <c:pt idx="74">
                  <c:v>12.535557600000001</c:v>
                </c:pt>
                <c:pt idx="75">
                  <c:v>13.0669986</c:v>
                </c:pt>
                <c:pt idx="76">
                  <c:v>18.050522000000001</c:v>
                </c:pt>
                <c:pt idx="77">
                  <c:v>26.4469791</c:v>
                </c:pt>
                <c:pt idx="78">
                  <c:v>37.561672399999999</c:v>
                </c:pt>
                <c:pt idx="79">
                  <c:v>50.801215400000004</c:v>
                </c:pt>
                <c:pt idx="80">
                  <c:v>65.660542100000001</c:v>
                </c:pt>
                <c:pt idx="81">
                  <c:v>81.711470599999998</c:v>
                </c:pt>
                <c:pt idx="82">
                  <c:v>98.592644399999998</c:v>
                </c:pt>
                <c:pt idx="83">
                  <c:v>116.0006909</c:v>
                </c:pt>
                <c:pt idx="84">
                  <c:v>133.68245859999999</c:v>
                </c:pt>
                <c:pt idx="85">
                  <c:v>151.13960120000002</c:v>
                </c:pt>
                <c:pt idx="86">
                  <c:v>168.507462</c:v>
                </c:pt>
                <c:pt idx="87">
                  <c:v>185.6449432</c:v>
                </c:pt>
                <c:pt idx="88">
                  <c:v>202.43860999999998</c:v>
                </c:pt>
                <c:pt idx="89">
                  <c:v>218.79870309999998</c:v>
                </c:pt>
                <c:pt idx="90">
                  <c:v>234.6556607</c:v>
                </c:pt>
                <c:pt idx="91">
                  <c:v>249.95708630000001</c:v>
                </c:pt>
                <c:pt idx="92">
                  <c:v>264.66511249999996</c:v>
                </c:pt>
                <c:pt idx="93">
                  <c:v>278.75410959999999</c:v>
                </c:pt>
                <c:pt idx="94">
                  <c:v>292.20869970000001</c:v>
                </c:pt>
                <c:pt idx="95">
                  <c:v>305.02203760000003</c:v>
                </c:pt>
                <c:pt idx="96">
                  <c:v>317.19432639999997</c:v>
                </c:pt>
                <c:pt idx="97">
                  <c:v>328.731537</c:v>
                </c:pt>
                <c:pt idx="98">
                  <c:v>339.64430950000002</c:v>
                </c:pt>
                <c:pt idx="99">
                  <c:v>349.94701049999998</c:v>
                </c:pt>
                <c:pt idx="100">
                  <c:v>359.6569265</c:v>
                </c:pt>
                <c:pt idx="101">
                  <c:v>368.79357909999999</c:v>
                </c:pt>
                <c:pt idx="102">
                  <c:v>377.37814259999999</c:v>
                </c:pt>
                <c:pt idx="103">
                  <c:v>385.43295260000002</c:v>
                </c:pt>
                <c:pt idx="104">
                  <c:v>392.98109349999999</c:v>
                </c:pt>
                <c:pt idx="105">
                  <c:v>400.04605340000001</c:v>
                </c:pt>
                <c:pt idx="106">
                  <c:v>399.73738509999998</c:v>
                </c:pt>
                <c:pt idx="107">
                  <c:v>399.73738509999998</c:v>
                </c:pt>
                <c:pt idx="108">
                  <c:v>395.25762789999999</c:v>
                </c:pt>
                <c:pt idx="109">
                  <c:v>387.1507239</c:v>
                </c:pt>
                <c:pt idx="110">
                  <c:v>376.14757880000002</c:v>
                </c:pt>
                <c:pt idx="111">
                  <c:v>362.8728357</c:v>
                </c:pt>
                <c:pt idx="112">
                  <c:v>347.85848019999997</c:v>
                </c:pt>
                <c:pt idx="113">
                  <c:v>331.55581949999998</c:v>
                </c:pt>
                <c:pt idx="114">
                  <c:v>314.3460192</c:v>
                </c:pt>
                <c:pt idx="115">
                  <c:v>296.54936629999997</c:v>
                </c:pt>
                <c:pt idx="116">
                  <c:v>278.43340410000002</c:v>
                </c:pt>
                <c:pt idx="117">
                  <c:v>260.22007029999997</c:v>
                </c:pt>
                <c:pt idx="118">
                  <c:v>242.0919538</c:v>
                </c:pt>
                <c:pt idx="119">
                  <c:v>224.19777400000001</c:v>
                </c:pt>
                <c:pt idx="120">
                  <c:v>206.65717359999999</c:v>
                </c:pt>
                <c:pt idx="121">
                  <c:v>189.56490579999999</c:v>
                </c:pt>
                <c:pt idx="122">
                  <c:v>172.99448770000001</c:v>
                </c:pt>
                <c:pt idx="123">
                  <c:v>157.0013845</c:v>
                </c:pt>
                <c:pt idx="124">
                  <c:v>141.6257789</c:v>
                </c:pt>
                <c:pt idx="125">
                  <c:v>126.8949777</c:v>
                </c:pt>
                <c:pt idx="126">
                  <c:v>112.82549880000001</c:v>
                </c:pt>
                <c:pt idx="127">
                  <c:v>99.424876699999999</c:v>
                </c:pt>
                <c:pt idx="128">
                  <c:v>86.693223099999997</c:v>
                </c:pt>
                <c:pt idx="129">
                  <c:v>74.624571599999996</c:v>
                </c:pt>
                <c:pt idx="130">
                  <c:v>63.208032799999998</c:v>
                </c:pt>
                <c:pt idx="131">
                  <c:v>52.428786000000002</c:v>
                </c:pt>
                <c:pt idx="132">
                  <c:v>42.268925799999998</c:v>
                </c:pt>
                <c:pt idx="133">
                  <c:v>32.708183200000001</c:v>
                </c:pt>
                <c:pt idx="134">
                  <c:v>23.724537999999999</c:v>
                </c:pt>
                <c:pt idx="135">
                  <c:v>15.294735299999999</c:v>
                </c:pt>
                <c:pt idx="136">
                  <c:v>7.3947200999999998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.18699270000000001</c:v>
                </c:pt>
                <c:pt idx="176">
                  <c:v>0.52538879999999999</c:v>
                </c:pt>
                <c:pt idx="177">
                  <c:v>0.98467890000000002</c:v>
                </c:pt>
                <c:pt idx="178">
                  <c:v>1.5387892999999999</c:v>
                </c:pt>
                <c:pt idx="179">
                  <c:v>2.1655142000000001</c:v>
                </c:pt>
                <c:pt idx="180">
                  <c:v>2.8460150999999998</c:v>
                </c:pt>
                <c:pt idx="181">
                  <c:v>3.5643815999999999</c:v>
                </c:pt>
                <c:pt idx="182">
                  <c:v>4.1202515999999996</c:v>
                </c:pt>
                <c:pt idx="183">
                  <c:v>4.5380468</c:v>
                </c:pt>
                <c:pt idx="184">
                  <c:v>4.8390123999999997</c:v>
                </c:pt>
                <c:pt idx="185">
                  <c:v>5.0416005000000004</c:v>
                </c:pt>
                <c:pt idx="186">
                  <c:v>5.1618092999999998</c:v>
                </c:pt>
                <c:pt idx="187">
                  <c:v>5.2134831000000004</c:v>
                </c:pt>
                <c:pt idx="188">
                  <c:v>5.208577</c:v>
                </c:pt>
                <c:pt idx="189">
                  <c:v>5.1573919000000004</c:v>
                </c:pt>
                <c:pt idx="190">
                  <c:v>5.0687800999999997</c:v>
                </c:pt>
                <c:pt idx="191">
                  <c:v>4.9503285000000004</c:v>
                </c:pt>
                <c:pt idx="192">
                  <c:v>4.8085187999999999</c:v>
                </c:pt>
                <c:pt idx="193">
                  <c:v>4.6488692</c:v>
                </c:pt>
                <c:pt idx="194">
                  <c:v>4.4760593999999996</c:v>
                </c:pt>
                <c:pt idx="195">
                  <c:v>4.2940398999999996</c:v>
                </c:pt>
                <c:pt idx="196">
                  <c:v>4.1061284999999996</c:v>
                </c:pt>
                <c:pt idx="197">
                  <c:v>3.9150949000000002</c:v>
                </c:pt>
                <c:pt idx="198">
                  <c:v>3.7232349999999999</c:v>
                </c:pt>
                <c:pt idx="199">
                  <c:v>3.5324361</c:v>
                </c:pt>
                <c:pt idx="200">
                  <c:v>3.3442337000000002</c:v>
                </c:pt>
                <c:pt idx="201">
                  <c:v>3.1598616000000002</c:v>
                </c:pt>
                <c:pt idx="202">
                  <c:v>2.9802949999999999</c:v>
                </c:pt>
                <c:pt idx="203">
                  <c:v>2.806289</c:v>
                </c:pt>
                <c:pt idx="204">
                  <c:v>2.6384113999999999</c:v>
                </c:pt>
                <c:pt idx="205">
                  <c:v>2.1884671999999998</c:v>
                </c:pt>
                <c:pt idx="206">
                  <c:v>1.7643772</c:v>
                </c:pt>
                <c:pt idx="207">
                  <c:v>1.3652955</c:v>
                </c:pt>
                <c:pt idx="208">
                  <c:v>0.99030280000000004</c:v>
                </c:pt>
                <c:pt idx="209">
                  <c:v>0.63842840000000001</c:v>
                </c:pt>
                <c:pt idx="210">
                  <c:v>0.30866830000000001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4.4797571999999999</c:v>
                </c:pt>
                <c:pt idx="253">
                  <c:v>12.5866612</c:v>
                </c:pt>
                <c:pt idx="254">
                  <c:v>23.589806299999999</c:v>
                </c:pt>
                <c:pt idx="255">
                  <c:v>36.864549500000003</c:v>
                </c:pt>
                <c:pt idx="256">
                  <c:v>51.878904900000002</c:v>
                </c:pt>
                <c:pt idx="257">
                  <c:v>68.181565599999999</c:v>
                </c:pt>
                <c:pt idx="258">
                  <c:v>85.391365899999997</c:v>
                </c:pt>
                <c:pt idx="259">
                  <c:v>103.18801879999999</c:v>
                </c:pt>
                <c:pt idx="260">
                  <c:v>121.30398099999999</c:v>
                </c:pt>
                <c:pt idx="261">
                  <c:v>139.51731480000001</c:v>
                </c:pt>
                <c:pt idx="262">
                  <c:v>157.64543130000001</c:v>
                </c:pt>
                <c:pt idx="263">
                  <c:v>175.5396111</c:v>
                </c:pt>
                <c:pt idx="264">
                  <c:v>193.08021149999999</c:v>
                </c:pt>
                <c:pt idx="265">
                  <c:v>210.17247929999999</c:v>
                </c:pt>
                <c:pt idx="266">
                  <c:v>226.7428974</c:v>
                </c:pt>
                <c:pt idx="267">
                  <c:v>242.73600060000001</c:v>
                </c:pt>
                <c:pt idx="268">
                  <c:v>258.11160619999998</c:v>
                </c:pt>
                <c:pt idx="269">
                  <c:v>272.84240740000001</c:v>
                </c:pt>
                <c:pt idx="270">
                  <c:v>286.91188629999999</c:v>
                </c:pt>
                <c:pt idx="271">
                  <c:v>300.31250840000001</c:v>
                </c:pt>
                <c:pt idx="272">
                  <c:v>313.04416199999997</c:v>
                </c:pt>
                <c:pt idx="273">
                  <c:v>325.11281359999998</c:v>
                </c:pt>
                <c:pt idx="274">
                  <c:v>336.52935230000003</c:v>
                </c:pt>
                <c:pt idx="275">
                  <c:v>347.30859909999998</c:v>
                </c:pt>
                <c:pt idx="276">
                  <c:v>357.46845930000001</c:v>
                </c:pt>
                <c:pt idx="277">
                  <c:v>367.02920189999998</c:v>
                </c:pt>
                <c:pt idx="278">
                  <c:v>376.01284709999999</c:v>
                </c:pt>
                <c:pt idx="279">
                  <c:v>384.44264980000003</c:v>
                </c:pt>
                <c:pt idx="280">
                  <c:v>392.5296578</c:v>
                </c:pt>
                <c:pt idx="281">
                  <c:v>395.78301669999996</c:v>
                </c:pt>
                <c:pt idx="282">
                  <c:v>388.13540280000001</c:v>
                </c:pt>
                <c:pt idx="283">
                  <c:v>377.68636810000004</c:v>
                </c:pt>
                <c:pt idx="284">
                  <c:v>365.03834990000001</c:v>
                </c:pt>
                <c:pt idx="285">
                  <c:v>350.70449529999996</c:v>
                </c:pt>
                <c:pt idx="286">
                  <c:v>335.12020109999997</c:v>
                </c:pt>
                <c:pt idx="287">
                  <c:v>318.6532636</c:v>
                </c:pt>
                <c:pt idx="288">
                  <c:v>301.42580919999995</c:v>
                </c:pt>
                <c:pt idx="289">
                  <c:v>283.7317066</c:v>
                </c:pt>
                <c:pt idx="290">
                  <c:v>265.81578129999997</c:v>
                </c:pt>
                <c:pt idx="291">
                  <c:v>247.88048799999999</c:v>
                </c:pt>
                <c:pt idx="292">
                  <c:v>230.091758</c:v>
                </c:pt>
                <c:pt idx="293">
                  <c:v>212.58411709999999</c:v>
                </c:pt>
                <c:pt idx="294">
                  <c:v>195.4651604</c:v>
                </c:pt>
                <c:pt idx="295">
                  <c:v>178.81945910000002</c:v>
                </c:pt>
                <c:pt idx="296">
                  <c:v>162.7119687</c:v>
                </c:pt>
                <c:pt idx="297">
                  <c:v>147.1909962</c:v>
                </c:pt>
                <c:pt idx="298">
                  <c:v>132.29078060000001</c:v>
                </c:pt>
                <c:pt idx="299">
                  <c:v>118.0337329</c:v>
                </c:pt>
                <c:pt idx="300">
                  <c:v>104.4323771</c:v>
                </c:pt>
                <c:pt idx="301">
                  <c:v>91.4910292</c:v>
                </c:pt>
                <c:pt idx="302">
                  <c:v>79.207245999999998</c:v>
                </c:pt>
                <c:pt idx="303">
                  <c:v>67.573071900000002</c:v>
                </c:pt>
                <c:pt idx="304">
                  <c:v>56.576110900000003</c:v>
                </c:pt>
                <c:pt idx="305">
                  <c:v>46.200443700000001</c:v>
                </c:pt>
                <c:pt idx="306">
                  <c:v>36.427409699999998</c:v>
                </c:pt>
                <c:pt idx="307">
                  <c:v>27.236273999999998</c:v>
                </c:pt>
                <c:pt idx="308">
                  <c:v>18.604790399999999</c:v>
                </c:pt>
                <c:pt idx="309">
                  <c:v>10.5096773</c:v>
                </c:pt>
                <c:pt idx="310">
                  <c:v>2.6384113999999999</c:v>
                </c:pt>
                <c:pt idx="311">
                  <c:v>2.1884671999999998</c:v>
                </c:pt>
                <c:pt idx="312">
                  <c:v>1.7643772</c:v>
                </c:pt>
                <c:pt idx="313">
                  <c:v>1.3652955</c:v>
                </c:pt>
                <c:pt idx="314">
                  <c:v>0.99030280000000004</c:v>
                </c:pt>
                <c:pt idx="315">
                  <c:v>0.63842840000000001</c:v>
                </c:pt>
                <c:pt idx="316">
                  <c:v>0.30866830000000001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2.9142302999999998</c:v>
                </c:pt>
                <c:pt idx="386">
                  <c:v>5.2738091999999996</c:v>
                </c:pt>
                <c:pt idx="387">
                  <c:v>7.1579097999999997</c:v>
                </c:pt>
                <c:pt idx="388">
                  <c:v>8.6356594999999992</c:v>
                </c:pt>
                <c:pt idx="389">
                  <c:v>9.7673348000000004</c:v>
                </c:pt>
                <c:pt idx="390">
                  <c:v>10.605420000000001</c:v>
                </c:pt>
                <c:pt idx="391">
                  <c:v>11.195544399999999</c:v>
                </c:pt>
                <c:pt idx="392">
                  <c:v>11.577311399999999</c:v>
                </c:pt>
                <c:pt idx="393">
                  <c:v>11.785032599999999</c:v>
                </c:pt>
                <c:pt idx="394">
                  <c:v>11.848376099999999</c:v>
                </c:pt>
                <c:pt idx="395">
                  <c:v>11.7929394</c:v>
                </c:pt>
                <c:pt idx="396">
                  <c:v>11.640755800000001</c:v>
                </c:pt>
                <c:pt idx="397">
                  <c:v>11.4107407</c:v>
                </c:pt>
                <c:pt idx="398">
                  <c:v>11.1190856</c:v>
                </c:pt>
                <c:pt idx="399">
                  <c:v>10.779605</c:v>
                </c:pt>
                <c:pt idx="400">
                  <c:v>10.4040426</c:v>
                </c:pt>
                <c:pt idx="401">
                  <c:v>36.492465299999999</c:v>
                </c:pt>
                <c:pt idx="402">
                  <c:v>57.521386399999997</c:v>
                </c:pt>
                <c:pt idx="403">
                  <c:v>74.217501999999996</c:v>
                </c:pt>
                <c:pt idx="404">
                  <c:v>87.215017700000004</c:v>
                </c:pt>
                <c:pt idx="405">
                  <c:v>97.066671600000006</c:v>
                </c:pt>
                <c:pt idx="406">
                  <c:v>104.2534959</c:v>
                </c:pt>
                <c:pt idx="407">
                  <c:v>109.1934589</c:v>
                </c:pt>
                <c:pt idx="408">
                  <c:v>112.2491117</c:v>
                </c:pt>
                <c:pt idx="409">
                  <c:v>113.7343499</c:v>
                </c:pt>
                <c:pt idx="410">
                  <c:v>113.92039130000001</c:v>
                </c:pt>
                <c:pt idx="411">
                  <c:v>113.0410555</c:v>
                </c:pt>
                <c:pt idx="412">
                  <c:v>111.29742589999999</c:v>
                </c:pt>
                <c:pt idx="413">
                  <c:v>108.8619624</c:v>
                </c:pt>
                <c:pt idx="414">
                  <c:v>113.6883016</c:v>
                </c:pt>
                <c:pt idx="415">
                  <c:v>112.11240170000001</c:v>
                </c:pt>
                <c:pt idx="416">
                  <c:v>113.74539590000001</c:v>
                </c:pt>
                <c:pt idx="417">
                  <c:v>114.0523096</c:v>
                </c:pt>
                <c:pt idx="418">
                  <c:v>113.270741</c:v>
                </c:pt>
                <c:pt idx="419">
                  <c:v>111.60507629999999</c:v>
                </c:pt>
                <c:pt idx="420">
                  <c:v>109.23065920000001</c:v>
                </c:pt>
                <c:pt idx="421">
                  <c:v>106.297467</c:v>
                </c:pt>
                <c:pt idx="422">
                  <c:v>102.9333513</c:v>
                </c:pt>
                <c:pt idx="423">
                  <c:v>99.246890500000006</c:v>
                </c:pt>
                <c:pt idx="424">
                  <c:v>95.329899999999995</c:v>
                </c:pt>
                <c:pt idx="425">
                  <c:v>91.259639800000002</c:v>
                </c:pt>
                <c:pt idx="426">
                  <c:v>87.100752900000003</c:v>
                </c:pt>
                <c:pt idx="427">
                  <c:v>82.906967100000003</c:v>
                </c:pt>
                <c:pt idx="428">
                  <c:v>78.722587000000004</c:v>
                </c:pt>
                <c:pt idx="429">
                  <c:v>74.583801199999996</c:v>
                </c:pt>
                <c:pt idx="430">
                  <c:v>70.5198252</c:v>
                </c:pt>
                <c:pt idx="431">
                  <c:v>25.669065499999999</c:v>
                </c:pt>
                <c:pt idx="432">
                  <c:v>24.5166827</c:v>
                </c:pt>
                <c:pt idx="433">
                  <c:v>23.351170400000001</c:v>
                </c:pt>
                <c:pt idx="434">
                  <c:v>22.185463299999999</c:v>
                </c:pt>
                <c:pt idx="435">
                  <c:v>27.011833599999999</c:v>
                </c:pt>
                <c:pt idx="436">
                  <c:v>30.718714500000001</c:v>
                </c:pt>
                <c:pt idx="437">
                  <c:v>33.475465800000002</c:v>
                </c:pt>
                <c:pt idx="438">
                  <c:v>35.429351699999998</c:v>
                </c:pt>
                <c:pt idx="439">
                  <c:v>36.708213000000001</c:v>
                </c:pt>
                <c:pt idx="440">
                  <c:v>37.422829499999999</c:v>
                </c:pt>
                <c:pt idx="441">
                  <c:v>37.66901</c:v>
                </c:pt>
                <c:pt idx="442">
                  <c:v>37.5294381</c:v>
                </c:pt>
                <c:pt idx="443">
                  <c:v>37.075302899999997</c:v>
                </c:pt>
                <c:pt idx="444">
                  <c:v>24.3196969</c:v>
                </c:pt>
                <c:pt idx="445">
                  <c:v>24.205908999999998</c:v>
                </c:pt>
                <c:pt idx="446">
                  <c:v>23.8935405</c:v>
                </c:pt>
                <c:pt idx="447">
                  <c:v>23.421417000000002</c:v>
                </c:pt>
                <c:pt idx="448">
                  <c:v>22.822772499999999</c:v>
                </c:pt>
                <c:pt idx="449">
                  <c:v>22.125962699999999</c:v>
                </c:pt>
                <c:pt idx="450">
                  <c:v>21.355092299999999</c:v>
                </c:pt>
                <c:pt idx="451">
                  <c:v>20.5305669</c:v>
                </c:pt>
                <c:pt idx="452">
                  <c:v>19.669579599999999</c:v>
                </c:pt>
                <c:pt idx="453">
                  <c:v>18.786536699999999</c:v>
                </c:pt>
                <c:pt idx="454">
                  <c:v>17.893433000000002</c:v>
                </c:pt>
                <c:pt idx="455">
                  <c:v>17.000180100000001</c:v>
                </c:pt>
                <c:pt idx="456">
                  <c:v>16.1148943</c:v>
                </c:pt>
                <c:pt idx="457">
                  <c:v>19.096253399999998</c:v>
                </c:pt>
                <c:pt idx="458">
                  <c:v>21.364249600000001</c:v>
                </c:pt>
                <c:pt idx="459">
                  <c:v>23.027654999999999</c:v>
                </c:pt>
                <c:pt idx="460">
                  <c:v>24.180999700000001</c:v>
                </c:pt>
                <c:pt idx="461">
                  <c:v>24.906297299999999</c:v>
                </c:pt>
                <c:pt idx="462">
                  <c:v>25.7366052</c:v>
                </c:pt>
                <c:pt idx="463">
                  <c:v>38.232094799999999</c:v>
                </c:pt>
                <c:pt idx="464">
                  <c:v>48.116309700000002</c:v>
                </c:pt>
                <c:pt idx="465">
                  <c:v>46.5409632</c:v>
                </c:pt>
                <c:pt idx="466">
                  <c:v>52.913804999999996</c:v>
                </c:pt>
                <c:pt idx="467">
                  <c:v>57.652263699999999</c:v>
                </c:pt>
                <c:pt idx="468">
                  <c:v>61.009691400000001</c:v>
                </c:pt>
                <c:pt idx="469">
                  <c:v>63.206021999999997</c:v>
                </c:pt>
                <c:pt idx="470">
                  <c:v>64.431836899999993</c:v>
                </c:pt>
                <c:pt idx="471">
                  <c:v>64.851959899999997</c:v>
                </c:pt>
                <c:pt idx="472">
                  <c:v>64.608633600000005</c:v>
                </c:pt>
                <c:pt idx="473">
                  <c:v>63.824324400000002</c:v>
                </c:pt>
                <c:pt idx="474">
                  <c:v>62.604198599999997</c:v>
                </c:pt>
                <c:pt idx="475">
                  <c:v>61.038305600000001</c:v>
                </c:pt>
                <c:pt idx="476">
                  <c:v>59.203503000000005</c:v>
                </c:pt>
                <c:pt idx="477">
                  <c:v>57.165151700000003</c:v>
                </c:pt>
                <c:pt idx="478">
                  <c:v>54.978608000000001</c:v>
                </c:pt>
                <c:pt idx="479">
                  <c:v>52.690535599999997</c:v>
                </c:pt>
                <c:pt idx="480">
                  <c:v>50.3400593</c:v>
                </c:pt>
                <c:pt idx="481">
                  <c:v>47.959776699999999</c:v>
                </c:pt>
                <c:pt idx="482">
                  <c:v>45.576646400000001</c:v>
                </c:pt>
                <c:pt idx="483">
                  <c:v>43.212765900000001</c:v>
                </c:pt>
                <c:pt idx="484">
                  <c:v>40.886053099999998</c:v>
                </c:pt>
                <c:pt idx="485">
                  <c:v>38.610841000000001</c:v>
                </c:pt>
                <c:pt idx="486">
                  <c:v>36.398398499999999</c:v>
                </c:pt>
                <c:pt idx="487">
                  <c:v>28.3120473</c:v>
                </c:pt>
                <c:pt idx="488">
                  <c:v>26.6411391</c:v>
                </c:pt>
                <c:pt idx="489">
                  <c:v>25.0318553</c:v>
                </c:pt>
                <c:pt idx="490">
                  <c:v>23.487598599999998</c:v>
                </c:pt>
                <c:pt idx="491">
                  <c:v>22.010566499999999</c:v>
                </c:pt>
                <c:pt idx="492">
                  <c:v>19.8888465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5.1340000000000001E-4</c:v>
                </c:pt>
                <c:pt idx="501">
                  <c:v>9.2909999999999998E-4</c:v>
                </c:pt>
                <c:pt idx="502">
                  <c:v>1.2611E-3</c:v>
                </c:pt>
                <c:pt idx="503">
                  <c:v>2.0225999999999998E-3</c:v>
                </c:pt>
                <c:pt idx="504">
                  <c:v>2.6278E-3</c:v>
                </c:pt>
                <c:pt idx="505">
                  <c:v>3.0994999999999998E-3</c:v>
                </c:pt>
                <c:pt idx="506">
                  <c:v>3.4575999999999999E-3</c:v>
                </c:pt>
                <c:pt idx="507">
                  <c:v>3.7195000000000001E-3</c:v>
                </c:pt>
                <c:pt idx="508">
                  <c:v>3.9001999999999999E-3</c:v>
                </c:pt>
                <c:pt idx="509">
                  <c:v>4.0128999999999998E-3</c:v>
                </c:pt>
                <c:pt idx="510">
                  <c:v>4.0686999999999997E-3</c:v>
                </c:pt>
                <c:pt idx="511">
                  <c:v>4.0777000000000001E-3</c:v>
                </c:pt>
                <c:pt idx="512">
                  <c:v>4.0480000000000004E-3</c:v>
                </c:pt>
                <c:pt idx="513">
                  <c:v>3.9871000000000004E-3</c:v>
                </c:pt>
                <c:pt idx="514">
                  <c:v>3.9010999999999998E-3</c:v>
                </c:pt>
                <c:pt idx="515">
                  <c:v>3.7954E-3</c:v>
                </c:pt>
                <c:pt idx="516">
                  <c:v>3.6744999999999998E-3</c:v>
                </c:pt>
                <c:pt idx="517">
                  <c:v>3.5422000000000001E-3</c:v>
                </c:pt>
                <c:pt idx="518">
                  <c:v>3.4018E-3</c:v>
                </c:pt>
                <c:pt idx="519">
                  <c:v>3.2561000000000001E-3</c:v>
                </c:pt>
                <c:pt idx="520">
                  <c:v>3.1072999999999999E-3</c:v>
                </c:pt>
                <c:pt idx="521">
                  <c:v>2.9572999999999999E-3</c:v>
                </c:pt>
                <c:pt idx="522">
                  <c:v>2.8077000000000002E-3</c:v>
                </c:pt>
                <c:pt idx="523">
                  <c:v>2.6597999999999999E-3</c:v>
                </c:pt>
                <c:pt idx="524">
                  <c:v>2.5146999999999999E-3</c:v>
                </c:pt>
                <c:pt idx="525">
                  <c:v>2.3730000000000001E-3</c:v>
                </c:pt>
                <c:pt idx="526">
                  <c:v>2.2355999999999999E-3</c:v>
                </c:pt>
                <c:pt idx="527">
                  <c:v>2.1028000000000002E-3</c:v>
                </c:pt>
                <c:pt idx="528">
                  <c:v>1.9751E-3</c:v>
                </c:pt>
                <c:pt idx="529">
                  <c:v>1.8526E-3</c:v>
                </c:pt>
                <c:pt idx="530">
                  <c:v>9.4309999999999999E-4</c:v>
                </c:pt>
                <c:pt idx="531">
                  <c:v>8.8389999999999996E-4</c:v>
                </c:pt>
                <c:pt idx="532">
                  <c:v>8.273E-4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24.1212315</c:v>
                </c:pt>
                <c:pt idx="541">
                  <c:v>43.651585699999998</c:v>
                </c:pt>
                <c:pt idx="542">
                  <c:v>59.246382099999998</c:v>
                </c:pt>
                <c:pt idx="543">
                  <c:v>71.477791300000007</c:v>
                </c:pt>
                <c:pt idx="544">
                  <c:v>80.844725100000005</c:v>
                </c:pt>
                <c:pt idx="545">
                  <c:v>87.781598799999998</c:v>
                </c:pt>
                <c:pt idx="546">
                  <c:v>92.6660878</c:v>
                </c:pt>
                <c:pt idx="547">
                  <c:v>95.8259927</c:v>
                </c:pt>
                <c:pt idx="548">
                  <c:v>97.545311799999993</c:v>
                </c:pt>
                <c:pt idx="549">
                  <c:v>98.069608900000006</c:v>
                </c:pt>
                <c:pt idx="550">
                  <c:v>97.610756899999998</c:v>
                </c:pt>
                <c:pt idx="551">
                  <c:v>96.351125699999997</c:v>
                </c:pt>
                <c:pt idx="552">
                  <c:v>94.447279100000003</c:v>
                </c:pt>
                <c:pt idx="553">
                  <c:v>92.033234699999994</c:v>
                </c:pt>
                <c:pt idx="554">
                  <c:v>104.67744</c:v>
                </c:pt>
                <c:pt idx="555">
                  <c:v>114.0816894</c:v>
                </c:pt>
                <c:pt idx="556">
                  <c:v>120.7481234</c:v>
                </c:pt>
                <c:pt idx="557">
                  <c:v>125.11265280000001</c:v>
                </c:pt>
                <c:pt idx="558">
                  <c:v>127.5530176</c:v>
                </c:pt>
                <c:pt idx="559">
                  <c:v>128.3959097</c:v>
                </c:pt>
                <c:pt idx="560">
                  <c:v>127.9232686</c:v>
                </c:pt>
                <c:pt idx="561">
                  <c:v>126.3778404</c:v>
                </c:pt>
                <c:pt idx="562">
                  <c:v>123.96808349999999</c:v>
                </c:pt>
                <c:pt idx="563">
                  <c:v>120.87249679999999</c:v>
                </c:pt>
                <c:pt idx="564">
                  <c:v>117.2434334</c:v>
                </c:pt>
                <c:pt idx="565">
                  <c:v>113.2104609</c:v>
                </c:pt>
                <c:pt idx="566">
                  <c:v>108.88331769999999</c:v>
                </c:pt>
                <c:pt idx="567">
                  <c:v>104.3545142</c:v>
                </c:pt>
                <c:pt idx="568">
                  <c:v>99.701617599999992</c:v>
                </c:pt>
                <c:pt idx="569">
                  <c:v>94.989258700000008</c:v>
                </c:pt>
                <c:pt idx="570">
                  <c:v>53.042203000000001</c:v>
                </c:pt>
                <c:pt idx="571">
                  <c:v>50.817779999999999</c:v>
                </c:pt>
                <c:pt idx="572">
                  <c:v>48.536374899999998</c:v>
                </c:pt>
                <c:pt idx="573">
                  <c:v>46.228977100000002</c:v>
                </c:pt>
                <c:pt idx="574">
                  <c:v>43.921193599999995</c:v>
                </c:pt>
                <c:pt idx="575">
                  <c:v>41.633993700000005</c:v>
                </c:pt>
                <c:pt idx="576">
                  <c:v>39.3843587</c:v>
                </c:pt>
                <c:pt idx="577">
                  <c:v>37.185851999999997</c:v>
                </c:pt>
                <c:pt idx="578">
                  <c:v>35.049114899999999</c:v>
                </c:pt>
                <c:pt idx="579">
                  <c:v>32.982300699999996</c:v>
                </c:pt>
                <c:pt idx="580">
                  <c:v>30.991451300000001</c:v>
                </c:pt>
                <c:pt idx="581">
                  <c:v>29.080825700000002</c:v>
                </c:pt>
                <c:pt idx="582">
                  <c:v>27.2531842</c:v>
                </c:pt>
                <c:pt idx="583">
                  <c:v>25.5100354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3.2422578</c:v>
                </c:pt>
                <c:pt idx="589">
                  <c:v>5.8674324000000002</c:v>
                </c:pt>
                <c:pt idx="590">
                  <c:v>7.9636085000000003</c:v>
                </c:pt>
                <c:pt idx="591">
                  <c:v>9.6076946000000003</c:v>
                </c:pt>
                <c:pt idx="592">
                  <c:v>10.866752</c:v>
                </c:pt>
                <c:pt idx="593">
                  <c:v>11.7991726</c:v>
                </c:pt>
                <c:pt idx="594">
                  <c:v>12.4557217</c:v>
                </c:pt>
                <c:pt idx="595">
                  <c:v>12.880460599999999</c:v>
                </c:pt>
                <c:pt idx="596">
                  <c:v>13.1115631</c:v>
                </c:pt>
                <c:pt idx="597">
                  <c:v>13.182036500000001</c:v>
                </c:pt>
                <c:pt idx="598">
                  <c:v>13.1203599</c:v>
                </c:pt>
                <c:pt idx="599">
                  <c:v>12.9510465</c:v>
                </c:pt>
                <c:pt idx="600">
                  <c:v>12.6951407</c:v>
                </c:pt>
                <c:pt idx="601">
                  <c:v>12.3706567</c:v>
                </c:pt>
                <c:pt idx="602">
                  <c:v>17.550924599999998</c:v>
                </c:pt>
                <c:pt idx="603">
                  <c:v>21.6332296</c:v>
                </c:pt>
                <c:pt idx="604">
                  <c:v>24.779629499999999</c:v>
                </c:pt>
                <c:pt idx="605">
                  <c:v>27.131281600000001</c:v>
                </c:pt>
                <c:pt idx="606">
                  <c:v>28.810952799999999</c:v>
                </c:pt>
                <c:pt idx="607">
                  <c:v>29.925241700000001</c:v>
                </c:pt>
                <c:pt idx="608">
                  <c:v>30.566543800000002</c:v>
                </c:pt>
                <c:pt idx="609">
                  <c:v>30.8147895</c:v>
                </c:pt>
                <c:pt idx="610">
                  <c:v>30.738979700000002</c:v>
                </c:pt>
                <c:pt idx="611">
                  <c:v>30.398542200000001</c:v>
                </c:pt>
                <c:pt idx="612">
                  <c:v>29.8445289</c:v>
                </c:pt>
                <c:pt idx="613">
                  <c:v>29.120671600000001</c:v>
                </c:pt>
                <c:pt idx="614">
                  <c:v>28.2643129</c:v>
                </c:pt>
                <c:pt idx="615">
                  <c:v>27.307226499999999</c:v>
                </c:pt>
                <c:pt idx="616">
                  <c:v>26.276338500000001</c:v>
                </c:pt>
                <c:pt idx="617">
                  <c:v>25.194362399999999</c:v>
                </c:pt>
                <c:pt idx="618">
                  <c:v>19.076259400000001</c:v>
                </c:pt>
                <c:pt idx="619">
                  <c:v>18.276261099999999</c:v>
                </c:pt>
                <c:pt idx="620">
                  <c:v>17.4557696</c:v>
                </c:pt>
                <c:pt idx="621">
                  <c:v>16.62593</c:v>
                </c:pt>
                <c:pt idx="622">
                  <c:v>15.795951799999999</c:v>
                </c:pt>
                <c:pt idx="623">
                  <c:v>14.973376200000001</c:v>
                </c:pt>
                <c:pt idx="624">
                  <c:v>14.1643107</c:v>
                </c:pt>
                <c:pt idx="625">
                  <c:v>13.373633</c:v>
                </c:pt>
                <c:pt idx="626">
                  <c:v>12.6051704</c:v>
                </c:pt>
                <c:pt idx="627">
                  <c:v>11.861855</c:v>
                </c:pt>
                <c:pt idx="628">
                  <c:v>11.1458599</c:v>
                </c:pt>
                <c:pt idx="629">
                  <c:v>10.4587167</c:v>
                </c:pt>
                <c:pt idx="630">
                  <c:v>9.8014180999999994</c:v>
                </c:pt>
                <c:pt idx="631">
                  <c:v>9.1745067999999996</c:v>
                </c:pt>
                <c:pt idx="632">
                  <c:v>0</c:v>
                </c:pt>
                <c:pt idx="633">
                  <c:v>0</c:v>
                </c:pt>
                <c:pt idx="634">
                  <c:v>7.6057185</c:v>
                </c:pt>
                <c:pt idx="635">
                  <c:v>13.7638774</c:v>
                </c:pt>
                <c:pt idx="636">
                  <c:v>18.6811069</c:v>
                </c:pt>
                <c:pt idx="637">
                  <c:v>22.5378194</c:v>
                </c:pt>
                <c:pt idx="638">
                  <c:v>25.491327900000002</c:v>
                </c:pt>
                <c:pt idx="639">
                  <c:v>27.678608799999999</c:v>
                </c:pt>
                <c:pt idx="640">
                  <c:v>29.218747799999999</c:v>
                </c:pt>
                <c:pt idx="641">
                  <c:v>30.2151043</c:v>
                </c:pt>
                <c:pt idx="642">
                  <c:v>30.757226599999999</c:v>
                </c:pt>
                <c:pt idx="643">
                  <c:v>30.922543900000001</c:v>
                </c:pt>
                <c:pt idx="644">
                  <c:v>30.777862299999999</c:v>
                </c:pt>
                <c:pt idx="645">
                  <c:v>30.380685199999999</c:v>
                </c:pt>
                <c:pt idx="646">
                  <c:v>29.780379100000001</c:v>
                </c:pt>
                <c:pt idx="647">
                  <c:v>29.019201500000001</c:v>
                </c:pt>
                <c:pt idx="648">
                  <c:v>28.133206399999999</c:v>
                </c:pt>
                <c:pt idx="649">
                  <c:v>27.153043100000001</c:v>
                </c:pt>
                <c:pt idx="650">
                  <c:v>26.104657499999998</c:v>
                </c:pt>
                <c:pt idx="651">
                  <c:v>25.009910300000001</c:v>
                </c:pt>
                <c:pt idx="652">
                  <c:v>23.887119500000001</c:v>
                </c:pt>
                <c:pt idx="653">
                  <c:v>22.751536300000001</c:v>
                </c:pt>
                <c:pt idx="654">
                  <c:v>21.6157635</c:v>
                </c:pt>
                <c:pt idx="655">
                  <c:v>20.490120699999999</c:v>
                </c:pt>
                <c:pt idx="656">
                  <c:v>19.382965599999999</c:v>
                </c:pt>
                <c:pt idx="657">
                  <c:v>18.3009731</c:v>
                </c:pt>
                <c:pt idx="658">
                  <c:v>17.2493804</c:v>
                </c:pt>
                <c:pt idx="659">
                  <c:v>16.232200200000001</c:v>
                </c:pt>
                <c:pt idx="660">
                  <c:v>15.2524061</c:v>
                </c:pt>
                <c:pt idx="661">
                  <c:v>14.312094</c:v>
                </c:pt>
                <c:pt idx="662">
                  <c:v>13.4126224</c:v>
                </c:pt>
                <c:pt idx="663">
                  <c:v>12.5547337</c:v>
                </c:pt>
                <c:pt idx="664">
                  <c:v>0</c:v>
                </c:pt>
                <c:pt idx="665">
                  <c:v>0</c:v>
                </c:pt>
                <c:pt idx="666">
                  <c:v>0</c:v>
                </c:pt>
                <c:pt idx="667">
                  <c:v>0</c:v>
                </c:pt>
                <c:pt idx="668">
                  <c:v>135.47879810000001</c:v>
                </c:pt>
                <c:pt idx="669">
                  <c:v>245.17257169999999</c:v>
                </c:pt>
                <c:pt idx="670">
                  <c:v>332.76197519999999</c:v>
                </c:pt>
                <c:pt idx="671">
                  <c:v>401.46064860000001</c:v>
                </c:pt>
                <c:pt idx="672">
                  <c:v>454.07077090000001</c:v>
                </c:pt>
                <c:pt idx="673">
                  <c:v>493.03226869999997</c:v>
                </c:pt>
                <c:pt idx="674">
                  <c:v>520.46638589999998</c:v>
                </c:pt>
                <c:pt idx="675">
                  <c:v>538.21424090000005</c:v>
                </c:pt>
                <c:pt idx="676">
                  <c:v>547.8709321</c:v>
                </c:pt>
                <c:pt idx="677">
                  <c:v>550.8156884</c:v>
                </c:pt>
                <c:pt idx="678">
                  <c:v>548.23850990000005</c:v>
                </c:pt>
                <c:pt idx="679">
                  <c:v>541.16369210000005</c:v>
                </c:pt>
                <c:pt idx="680">
                  <c:v>530.47058770000001</c:v>
                </c:pt>
                <c:pt idx="681">
                  <c:v>516.91191670000001</c:v>
                </c:pt>
                <c:pt idx="682">
                  <c:v>501.12990430000002</c:v>
                </c:pt>
                <c:pt idx="683">
                  <c:v>483.67049459999998</c:v>
                </c:pt>
                <c:pt idx="684">
                  <c:v>464.99585910000002</c:v>
                </c:pt>
                <c:pt idx="685">
                  <c:v>445.4953969</c:v>
                </c:pt>
                <c:pt idx="686">
                  <c:v>425.49539929999997</c:v>
                </c:pt>
                <c:pt idx="687">
                  <c:v>405.26753530000002</c:v>
                </c:pt>
                <c:pt idx="688">
                  <c:v>385.03629180000001</c:v>
                </c:pt>
                <c:pt idx="689">
                  <c:v>364.98549379999997</c:v>
                </c:pt>
                <c:pt idx="690">
                  <c:v>345.26401060000001</c:v>
                </c:pt>
                <c:pt idx="691">
                  <c:v>325.99074350000001</c:v>
                </c:pt>
                <c:pt idx="692">
                  <c:v>307.25898189999998</c:v>
                </c:pt>
                <c:pt idx="693">
                  <c:v>289.1402008</c:v>
                </c:pt>
                <c:pt idx="694">
                  <c:v>271.68736790000003</c:v>
                </c:pt>
                <c:pt idx="695">
                  <c:v>254.93781849999999</c:v>
                </c:pt>
                <c:pt idx="696">
                  <c:v>279.24506389999999</c:v>
                </c:pt>
                <c:pt idx="697">
                  <c:v>296.71337520000003</c:v>
                </c:pt>
                <c:pt idx="698">
                  <c:v>99.5407163</c:v>
                </c:pt>
                <c:pt idx="699">
                  <c:v>120.9221472</c:v>
                </c:pt>
                <c:pt idx="700">
                  <c:v>138.31865540000001</c:v>
                </c:pt>
                <c:pt idx="701">
                  <c:v>152.69785820000001</c:v>
                </c:pt>
                <c:pt idx="702">
                  <c:v>164.89356519999998</c:v>
                </c:pt>
                <c:pt idx="703">
                  <c:v>175.6066166</c:v>
                </c:pt>
                <c:pt idx="704">
                  <c:v>185.41056789999999</c:v>
                </c:pt>
                <c:pt idx="705">
                  <c:v>194.76062820000001</c:v>
                </c:pt>
                <c:pt idx="706">
                  <c:v>204.00461380000002</c:v>
                </c:pt>
                <c:pt idx="707">
                  <c:v>213.3949796</c:v>
                </c:pt>
                <c:pt idx="708">
                  <c:v>223.10121570000001</c:v>
                </c:pt>
                <c:pt idx="709">
                  <c:v>233.2220945</c:v>
                </c:pt>
                <c:pt idx="710">
                  <c:v>243.79739819999998</c:v>
                </c:pt>
                <c:pt idx="711">
                  <c:v>254.8188773</c:v>
                </c:pt>
                <c:pt idx="712">
                  <c:v>266.24028380000004</c:v>
                </c:pt>
                <c:pt idx="713">
                  <c:v>277.9863909</c:v>
                </c:pt>
                <c:pt idx="714">
                  <c:v>289.9609681</c:v>
                </c:pt>
                <c:pt idx="715">
                  <c:v>302.053719</c:v>
                </c:pt>
                <c:pt idx="716">
                  <c:v>314.14621820000002</c:v>
                </c:pt>
                <c:pt idx="717">
                  <c:v>326.11690470000002</c:v>
                </c:pt>
                <c:pt idx="718">
                  <c:v>337.84520020000002</c:v>
                </c:pt>
                <c:pt idx="719">
                  <c:v>349.21483030000002</c:v>
                </c:pt>
                <c:pt idx="720">
                  <c:v>360.1164306</c:v>
                </c:pt>
                <c:pt idx="721">
                  <c:v>370.4495167</c:v>
                </c:pt>
                <c:pt idx="722">
                  <c:v>380.12389999999999</c:v>
                </c:pt>
                <c:pt idx="723">
                  <c:v>389.0606229</c:v>
                </c:pt>
                <c:pt idx="724">
                  <c:v>525.67071090000002</c:v>
                </c:pt>
                <c:pt idx="725">
                  <c:v>636.96804479999992</c:v>
                </c:pt>
                <c:pt idx="726">
                  <c:v>315.56721970000001</c:v>
                </c:pt>
                <c:pt idx="727">
                  <c:v>380.71603770000002</c:v>
                </c:pt>
                <c:pt idx="728">
                  <c:v>430.60764569999998</c:v>
                </c:pt>
                <c:pt idx="729">
                  <c:v>467.5558924</c:v>
                </c:pt>
                <c:pt idx="730">
                  <c:v>493.57241090000002</c:v>
                </c:pt>
                <c:pt idx="731">
                  <c:v>510.40318380000002</c:v>
                </c:pt>
                <c:pt idx="732">
                  <c:v>519.56088639999996</c:v>
                </c:pt>
                <c:pt idx="733">
                  <c:v>522.35347879999995</c:v>
                </c:pt>
                <c:pt idx="734">
                  <c:v>519.90947040000003</c:v>
                </c:pt>
                <c:pt idx="735">
                  <c:v>513.20022849999998</c:v>
                </c:pt>
                <c:pt idx="736">
                  <c:v>503.05966719999998</c:v>
                </c:pt>
                <c:pt idx="737">
                  <c:v>490.2016112</c:v>
                </c:pt>
                <c:pt idx="738">
                  <c:v>475.23510019999998</c:v>
                </c:pt>
                <c:pt idx="739">
                  <c:v>458.6778678</c:v>
                </c:pt>
                <c:pt idx="740">
                  <c:v>440.9682037</c:v>
                </c:pt>
                <c:pt idx="741">
                  <c:v>422.47538559999998</c:v>
                </c:pt>
                <c:pt idx="742">
                  <c:v>403.5088447</c:v>
                </c:pt>
                <c:pt idx="743">
                  <c:v>384.32621180000001</c:v>
                </c:pt>
                <c:pt idx="744">
                  <c:v>365.14037400000001</c:v>
                </c:pt>
                <c:pt idx="745">
                  <c:v>346.12565769999998</c:v>
                </c:pt>
                <c:pt idx="746">
                  <c:v>327.4232394</c:v>
                </c:pt>
                <c:pt idx="747">
                  <c:v>309.1458768</c:v>
                </c:pt>
                <c:pt idx="748">
                  <c:v>291.38203850000002</c:v>
                </c:pt>
                <c:pt idx="749">
                  <c:v>274.19950619999997</c:v>
                </c:pt>
                <c:pt idx="750">
                  <c:v>257.64851069999997</c:v>
                </c:pt>
                <c:pt idx="751">
                  <c:v>241.76445810000001</c:v>
                </c:pt>
                <c:pt idx="752">
                  <c:v>226.57029689999999</c:v>
                </c:pt>
                <c:pt idx="753">
                  <c:v>212.07856799999999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127.35990390000001</c:v>
                </c:pt>
                <c:pt idx="763">
                  <c:v>230.4800132</c:v>
                </c:pt>
                <c:pt idx="764">
                  <c:v>312.8204101</c:v>
                </c:pt>
                <c:pt idx="765">
                  <c:v>377.40214959999997</c:v>
                </c:pt>
                <c:pt idx="766">
                  <c:v>426.85948330000002</c:v>
                </c:pt>
                <c:pt idx="767">
                  <c:v>463.48611929999998</c:v>
                </c:pt>
                <c:pt idx="768">
                  <c:v>489.27618070000005</c:v>
                </c:pt>
                <c:pt idx="769">
                  <c:v>505.9604526</c:v>
                </c:pt>
                <c:pt idx="770">
                  <c:v>515.03844330000004</c:v>
                </c:pt>
                <c:pt idx="771">
                  <c:v>517.80672799999991</c:v>
                </c:pt>
                <c:pt idx="772">
                  <c:v>515.3839931</c:v>
                </c:pt>
                <c:pt idx="773">
                  <c:v>508.73315080000003</c:v>
                </c:pt>
                <c:pt idx="774">
                  <c:v>498.6808565</c:v>
                </c:pt>
                <c:pt idx="775">
                  <c:v>485.93472159999999</c:v>
                </c:pt>
                <c:pt idx="776">
                  <c:v>471.09848449999998</c:v>
                </c:pt>
                <c:pt idx="777">
                  <c:v>454.6853721</c:v>
                </c:pt>
                <c:pt idx="778">
                  <c:v>437.1298592</c:v>
                </c:pt>
                <c:pt idx="779">
                  <c:v>418.79800929999999</c:v>
                </c:pt>
                <c:pt idx="780">
                  <c:v>399.99655989999997</c:v>
                </c:pt>
                <c:pt idx="781">
                  <c:v>380.9808994</c:v>
                </c:pt>
                <c:pt idx="782">
                  <c:v>361.96206210000003</c:v>
                </c:pt>
                <c:pt idx="783">
                  <c:v>343.11285660000004</c:v>
                </c:pt>
                <c:pt idx="784">
                  <c:v>324.5732309</c:v>
                </c:pt>
                <c:pt idx="785">
                  <c:v>306.4549609</c:v>
                </c:pt>
                <c:pt idx="786">
                  <c:v>288.8457454</c:v>
                </c:pt>
                <c:pt idx="787">
                  <c:v>271.81277599999999</c:v>
                </c:pt>
                <c:pt idx="788">
                  <c:v>255.40584620000001</c:v>
                </c:pt>
                <c:pt idx="789">
                  <c:v>239.6600541</c:v>
                </c:pt>
                <c:pt idx="790">
                  <c:v>224.59814829999999</c:v>
                </c:pt>
                <c:pt idx="791">
                  <c:v>210.2325606</c:v>
                </c:pt>
                <c:pt idx="792">
                  <c:v>0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0</c:v>
                </c:pt>
                <c:pt idx="801">
                  <c:v>0</c:v>
                </c:pt>
                <c:pt idx="802">
                  <c:v>0</c:v>
                </c:pt>
                <c:pt idx="803">
                  <c:v>0</c:v>
                </c:pt>
                <c:pt idx="8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80-4D44-B5FB-C7344E7BB00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Other Non-Media</c:v>
                </c:pt>
              </c:strCache>
            </c:strRef>
          </c:tx>
          <c:spPr>
            <a:solidFill>
              <a:schemeClr val="accent6"/>
            </a:solidFill>
            <a:ln w="12700">
              <a:solidFill>
                <a:schemeClr val="accent6"/>
              </a:solidFill>
            </a:ln>
            <a:effectLst/>
          </c:spPr>
          <c:invertIfNegative val="0"/>
          <c:cat>
            <c:numRef>
              <c:f>Sheet1!$A$2:$A$806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G$2:$G$806</c:f>
              <c:numCache>
                <c:formatCode>#,##0</c:formatCode>
                <c:ptCount val="805"/>
                <c:pt idx="0">
                  <c:v>5.3159546999999998</c:v>
                </c:pt>
                <c:pt idx="1">
                  <c:v>5.3159546999999998</c:v>
                </c:pt>
                <c:pt idx="2">
                  <c:v>61.057042700000004</c:v>
                </c:pt>
                <c:pt idx="3">
                  <c:v>5.3198565000000002</c:v>
                </c:pt>
                <c:pt idx="4">
                  <c:v>5.3637428999999992</c:v>
                </c:pt>
                <c:pt idx="5">
                  <c:v>5.4810084999999997</c:v>
                </c:pt>
                <c:pt idx="6">
                  <c:v>5.3460542999999996</c:v>
                </c:pt>
                <c:pt idx="7">
                  <c:v>3.3444E-3</c:v>
                </c:pt>
                <c:pt idx="8">
                  <c:v>5.4295724999999999</c:v>
                </c:pt>
                <c:pt idx="9">
                  <c:v>171.57306159999999</c:v>
                </c:pt>
                <c:pt idx="10">
                  <c:v>7.3481500000000005E-2</c:v>
                </c:pt>
                <c:pt idx="11">
                  <c:v>0.31723800000000002</c:v>
                </c:pt>
                <c:pt idx="12">
                  <c:v>8.9183999999999999E-3</c:v>
                </c:pt>
                <c:pt idx="13">
                  <c:v>2.61978E-2</c:v>
                </c:pt>
                <c:pt idx="14">
                  <c:v>3.3444E-3</c:v>
                </c:pt>
                <c:pt idx="15">
                  <c:v>0.13667580000000001</c:v>
                </c:pt>
                <c:pt idx="16">
                  <c:v>1.6722E-3</c:v>
                </c:pt>
                <c:pt idx="17">
                  <c:v>5.8362555999999994</c:v>
                </c:pt>
                <c:pt idx="18">
                  <c:v>0.13348309999999999</c:v>
                </c:pt>
                <c:pt idx="19">
                  <c:v>2.6424395999999999</c:v>
                </c:pt>
                <c:pt idx="20">
                  <c:v>13.539531999999999</c:v>
                </c:pt>
                <c:pt idx="21">
                  <c:v>5.3204139000000001</c:v>
                </c:pt>
                <c:pt idx="22">
                  <c:v>5.5094393999999998</c:v>
                </c:pt>
                <c:pt idx="23">
                  <c:v>5.6254384999999996</c:v>
                </c:pt>
                <c:pt idx="24">
                  <c:v>194.30520770000001</c:v>
                </c:pt>
                <c:pt idx="25">
                  <c:v>85.009491999999995</c:v>
                </c:pt>
                <c:pt idx="26">
                  <c:v>6.3075694000000002</c:v>
                </c:pt>
                <c:pt idx="27">
                  <c:v>8.1386286999999999</c:v>
                </c:pt>
                <c:pt idx="28">
                  <c:v>8.6146482999999989</c:v>
                </c:pt>
                <c:pt idx="29">
                  <c:v>32.915120299999998</c:v>
                </c:pt>
                <c:pt idx="30">
                  <c:v>35.0959444</c:v>
                </c:pt>
                <c:pt idx="31">
                  <c:v>31.0626259</c:v>
                </c:pt>
                <c:pt idx="32">
                  <c:v>30.5149097</c:v>
                </c:pt>
                <c:pt idx="33">
                  <c:v>30.451158</c:v>
                </c:pt>
                <c:pt idx="34">
                  <c:v>30.455059800000001</c:v>
                </c:pt>
                <c:pt idx="35">
                  <c:v>30.453945000000001</c:v>
                </c:pt>
                <c:pt idx="36">
                  <c:v>90.834527500000007</c:v>
                </c:pt>
                <c:pt idx="37">
                  <c:v>90.981123700000012</c:v>
                </c:pt>
                <c:pt idx="38">
                  <c:v>90.732523300000011</c:v>
                </c:pt>
                <c:pt idx="39">
                  <c:v>90.763081499999998</c:v>
                </c:pt>
                <c:pt idx="40">
                  <c:v>90.754466500000007</c:v>
                </c:pt>
                <c:pt idx="41">
                  <c:v>90.733080700000002</c:v>
                </c:pt>
                <c:pt idx="42">
                  <c:v>90.734752900000004</c:v>
                </c:pt>
                <c:pt idx="43">
                  <c:v>90.842888500000001</c:v>
                </c:pt>
                <c:pt idx="44">
                  <c:v>91.058044899999999</c:v>
                </c:pt>
                <c:pt idx="45">
                  <c:v>90.800025100000013</c:v>
                </c:pt>
                <c:pt idx="46">
                  <c:v>90.732523300000011</c:v>
                </c:pt>
                <c:pt idx="47">
                  <c:v>90.982562900000005</c:v>
                </c:pt>
                <c:pt idx="48">
                  <c:v>90.743671300000003</c:v>
                </c:pt>
                <c:pt idx="49">
                  <c:v>90.732523300000011</c:v>
                </c:pt>
                <c:pt idx="50">
                  <c:v>90.869647200000003</c:v>
                </c:pt>
                <c:pt idx="51">
                  <c:v>91.438601000000006</c:v>
                </c:pt>
                <c:pt idx="52">
                  <c:v>90.731965900000006</c:v>
                </c:pt>
                <c:pt idx="53">
                  <c:v>90.735716000000011</c:v>
                </c:pt>
                <c:pt idx="54">
                  <c:v>90.731965900000006</c:v>
                </c:pt>
                <c:pt idx="55">
                  <c:v>90.732523300000011</c:v>
                </c:pt>
                <c:pt idx="56">
                  <c:v>90.733080700000002</c:v>
                </c:pt>
                <c:pt idx="57">
                  <c:v>90.793837300000007</c:v>
                </c:pt>
                <c:pt idx="58">
                  <c:v>91.642524600000002</c:v>
                </c:pt>
                <c:pt idx="59">
                  <c:v>90.934471300000013</c:v>
                </c:pt>
                <c:pt idx="60">
                  <c:v>90.975722400000009</c:v>
                </c:pt>
                <c:pt idx="61">
                  <c:v>90.731965900000006</c:v>
                </c:pt>
                <c:pt idx="62">
                  <c:v>90.765716800000007</c:v>
                </c:pt>
                <c:pt idx="63">
                  <c:v>90.731965900000006</c:v>
                </c:pt>
                <c:pt idx="64">
                  <c:v>90.810718000000008</c:v>
                </c:pt>
                <c:pt idx="65">
                  <c:v>91.052015800000007</c:v>
                </c:pt>
                <c:pt idx="66">
                  <c:v>90.731965900000006</c:v>
                </c:pt>
                <c:pt idx="67">
                  <c:v>90.731965900000006</c:v>
                </c:pt>
                <c:pt idx="68">
                  <c:v>93.503290200000009</c:v>
                </c:pt>
                <c:pt idx="69">
                  <c:v>90.731965900000006</c:v>
                </c:pt>
                <c:pt idx="70">
                  <c:v>90.731965900000006</c:v>
                </c:pt>
                <c:pt idx="71">
                  <c:v>91.523237100000003</c:v>
                </c:pt>
                <c:pt idx="72">
                  <c:v>92.596469100000007</c:v>
                </c:pt>
                <c:pt idx="73">
                  <c:v>90.994472900000005</c:v>
                </c:pt>
                <c:pt idx="74">
                  <c:v>90.848219</c:v>
                </c:pt>
                <c:pt idx="75">
                  <c:v>91.403233900000004</c:v>
                </c:pt>
                <c:pt idx="76">
                  <c:v>90.731965900000006</c:v>
                </c:pt>
                <c:pt idx="77">
                  <c:v>90.731965900000006</c:v>
                </c:pt>
                <c:pt idx="78">
                  <c:v>90.731965900000006</c:v>
                </c:pt>
                <c:pt idx="79">
                  <c:v>235.66649519999999</c:v>
                </c:pt>
                <c:pt idx="80">
                  <c:v>235.1963849</c:v>
                </c:pt>
                <c:pt idx="81">
                  <c:v>236.1639108</c:v>
                </c:pt>
                <c:pt idx="82">
                  <c:v>237.05643470000001</c:v>
                </c:pt>
                <c:pt idx="83">
                  <c:v>235.1963849</c:v>
                </c:pt>
                <c:pt idx="84">
                  <c:v>235.1963849</c:v>
                </c:pt>
                <c:pt idx="85">
                  <c:v>235.1963849</c:v>
                </c:pt>
                <c:pt idx="86">
                  <c:v>236.43046870000001</c:v>
                </c:pt>
                <c:pt idx="87">
                  <c:v>235.5263937</c:v>
                </c:pt>
                <c:pt idx="88">
                  <c:v>235.31263799999999</c:v>
                </c:pt>
                <c:pt idx="89">
                  <c:v>235.1963849</c:v>
                </c:pt>
                <c:pt idx="90">
                  <c:v>235.1963849</c:v>
                </c:pt>
                <c:pt idx="91">
                  <c:v>235.1963849</c:v>
                </c:pt>
                <c:pt idx="92">
                  <c:v>235.1963849</c:v>
                </c:pt>
                <c:pt idx="93">
                  <c:v>235.1963849</c:v>
                </c:pt>
                <c:pt idx="94">
                  <c:v>495.25085369999999</c:v>
                </c:pt>
                <c:pt idx="95">
                  <c:v>719.45811179999998</c:v>
                </c:pt>
                <c:pt idx="96">
                  <c:v>235.21138529999999</c:v>
                </c:pt>
                <c:pt idx="97">
                  <c:v>235.1963849</c:v>
                </c:pt>
                <c:pt idx="98">
                  <c:v>235.1963849</c:v>
                </c:pt>
                <c:pt idx="99">
                  <c:v>235.1963849</c:v>
                </c:pt>
                <c:pt idx="100">
                  <c:v>889.83267739999997</c:v>
                </c:pt>
                <c:pt idx="101">
                  <c:v>237.97145929999999</c:v>
                </c:pt>
                <c:pt idx="102">
                  <c:v>444.28323790000002</c:v>
                </c:pt>
                <c:pt idx="103">
                  <c:v>235.40639049999999</c:v>
                </c:pt>
                <c:pt idx="104">
                  <c:v>235.32763840000001</c:v>
                </c:pt>
                <c:pt idx="105">
                  <c:v>235.1963849</c:v>
                </c:pt>
                <c:pt idx="106">
                  <c:v>235.3313885</c:v>
                </c:pt>
                <c:pt idx="107">
                  <c:v>235.410698</c:v>
                </c:pt>
                <c:pt idx="108">
                  <c:v>235.2069755</c:v>
                </c:pt>
                <c:pt idx="109">
                  <c:v>235.20013499999999</c:v>
                </c:pt>
                <c:pt idx="110">
                  <c:v>235.19694229999999</c:v>
                </c:pt>
                <c:pt idx="111">
                  <c:v>290.24279209999997</c:v>
                </c:pt>
                <c:pt idx="112">
                  <c:v>290.24279209999997</c:v>
                </c:pt>
                <c:pt idx="113">
                  <c:v>290.24279209999997</c:v>
                </c:pt>
                <c:pt idx="114">
                  <c:v>290.25140709999994</c:v>
                </c:pt>
                <c:pt idx="115">
                  <c:v>290.44229189999999</c:v>
                </c:pt>
                <c:pt idx="116">
                  <c:v>290.4827985</c:v>
                </c:pt>
                <c:pt idx="117">
                  <c:v>291.16531679999997</c:v>
                </c:pt>
                <c:pt idx="118">
                  <c:v>145.85712520000001</c:v>
                </c:pt>
                <c:pt idx="119">
                  <c:v>145.85073980000001</c:v>
                </c:pt>
                <c:pt idx="120">
                  <c:v>145.7901808</c:v>
                </c:pt>
                <c:pt idx="121">
                  <c:v>145.79007850000002</c:v>
                </c:pt>
                <c:pt idx="122">
                  <c:v>145.79448830000001</c:v>
                </c:pt>
                <c:pt idx="123">
                  <c:v>145.8287966</c:v>
                </c:pt>
                <c:pt idx="124">
                  <c:v>145.86518280000001</c:v>
                </c:pt>
                <c:pt idx="125">
                  <c:v>145.79712360000002</c:v>
                </c:pt>
                <c:pt idx="126">
                  <c:v>145.77948790000002</c:v>
                </c:pt>
                <c:pt idx="127">
                  <c:v>145.79616050000001</c:v>
                </c:pt>
                <c:pt idx="128">
                  <c:v>146.07214740000001</c:v>
                </c:pt>
                <c:pt idx="129">
                  <c:v>145.7789305</c:v>
                </c:pt>
                <c:pt idx="130">
                  <c:v>145.78268059999999</c:v>
                </c:pt>
                <c:pt idx="131">
                  <c:v>145.93435679999999</c:v>
                </c:pt>
                <c:pt idx="132">
                  <c:v>145.78004530000001</c:v>
                </c:pt>
                <c:pt idx="133">
                  <c:v>145.77837310000001</c:v>
                </c:pt>
                <c:pt idx="134">
                  <c:v>145.77837310000001</c:v>
                </c:pt>
                <c:pt idx="135">
                  <c:v>145.78506190000002</c:v>
                </c:pt>
                <c:pt idx="136">
                  <c:v>145.86269920000001</c:v>
                </c:pt>
                <c:pt idx="137">
                  <c:v>145.7789305</c:v>
                </c:pt>
                <c:pt idx="138">
                  <c:v>145.78004530000001</c:v>
                </c:pt>
                <c:pt idx="139">
                  <c:v>145.78268059999999</c:v>
                </c:pt>
                <c:pt idx="140">
                  <c:v>145.81293190000002</c:v>
                </c:pt>
                <c:pt idx="141">
                  <c:v>145.786025</c:v>
                </c:pt>
                <c:pt idx="142">
                  <c:v>146.05213040000001</c:v>
                </c:pt>
                <c:pt idx="143">
                  <c:v>145.7911933</c:v>
                </c:pt>
                <c:pt idx="144">
                  <c:v>150.80725790000002</c:v>
                </c:pt>
                <c:pt idx="145">
                  <c:v>145.7821232</c:v>
                </c:pt>
                <c:pt idx="146">
                  <c:v>145.77837310000001</c:v>
                </c:pt>
                <c:pt idx="147">
                  <c:v>145.77837310000001</c:v>
                </c:pt>
                <c:pt idx="148">
                  <c:v>145.78587330000002</c:v>
                </c:pt>
                <c:pt idx="149">
                  <c:v>145.7901808</c:v>
                </c:pt>
                <c:pt idx="150">
                  <c:v>145.7845045</c:v>
                </c:pt>
                <c:pt idx="151">
                  <c:v>145.7789305</c:v>
                </c:pt>
                <c:pt idx="152">
                  <c:v>145.7933735</c:v>
                </c:pt>
                <c:pt idx="153">
                  <c:v>145.77837310000001</c:v>
                </c:pt>
                <c:pt idx="154">
                  <c:v>145.77837310000001</c:v>
                </c:pt>
                <c:pt idx="155">
                  <c:v>145.84399810000002</c:v>
                </c:pt>
                <c:pt idx="156">
                  <c:v>162.94396700000001</c:v>
                </c:pt>
                <c:pt idx="157">
                  <c:v>145.86309790000001</c:v>
                </c:pt>
                <c:pt idx="158">
                  <c:v>145.79007850000002</c:v>
                </c:pt>
                <c:pt idx="159">
                  <c:v>145.88762350000002</c:v>
                </c:pt>
                <c:pt idx="160">
                  <c:v>145.91828050000001</c:v>
                </c:pt>
                <c:pt idx="161">
                  <c:v>145.9327729</c:v>
                </c:pt>
                <c:pt idx="162">
                  <c:v>146.01582550000001</c:v>
                </c:pt>
                <c:pt idx="163">
                  <c:v>148.70583830000001</c:v>
                </c:pt>
                <c:pt idx="164">
                  <c:v>146.3655091</c:v>
                </c:pt>
                <c:pt idx="165">
                  <c:v>145.94113390000001</c:v>
                </c:pt>
                <c:pt idx="166">
                  <c:v>145.891931</c:v>
                </c:pt>
                <c:pt idx="167">
                  <c:v>146.1434701</c:v>
                </c:pt>
                <c:pt idx="168">
                  <c:v>146.36029880000001</c:v>
                </c:pt>
                <c:pt idx="169">
                  <c:v>382.96663820000003</c:v>
                </c:pt>
                <c:pt idx="170">
                  <c:v>147.62113770000002</c:v>
                </c:pt>
                <c:pt idx="171">
                  <c:v>148.07026100000002</c:v>
                </c:pt>
                <c:pt idx="172">
                  <c:v>147.22650200000001</c:v>
                </c:pt>
                <c:pt idx="173">
                  <c:v>147.80460980000001</c:v>
                </c:pt>
                <c:pt idx="174">
                  <c:v>146.90398590000001</c:v>
                </c:pt>
                <c:pt idx="175">
                  <c:v>91.711875200000009</c:v>
                </c:pt>
                <c:pt idx="176">
                  <c:v>291.58957299999997</c:v>
                </c:pt>
                <c:pt idx="177">
                  <c:v>387.18287409999994</c:v>
                </c:pt>
                <c:pt idx="178">
                  <c:v>290.87767079999998</c:v>
                </c:pt>
                <c:pt idx="179">
                  <c:v>305.6840057</c:v>
                </c:pt>
                <c:pt idx="180">
                  <c:v>290.71379519999999</c:v>
                </c:pt>
                <c:pt idx="181">
                  <c:v>291.07331819999996</c:v>
                </c:pt>
                <c:pt idx="182">
                  <c:v>290.85370259999996</c:v>
                </c:pt>
                <c:pt idx="183">
                  <c:v>291.24388259999995</c:v>
                </c:pt>
                <c:pt idx="184">
                  <c:v>351.53618999999998</c:v>
                </c:pt>
                <c:pt idx="185">
                  <c:v>291.6221309</c:v>
                </c:pt>
                <c:pt idx="186">
                  <c:v>291.06016970000002</c:v>
                </c:pt>
                <c:pt idx="187">
                  <c:v>290.56132499999995</c:v>
                </c:pt>
                <c:pt idx="188">
                  <c:v>290.54713249999998</c:v>
                </c:pt>
                <c:pt idx="189">
                  <c:v>290.58001909999996</c:v>
                </c:pt>
                <c:pt idx="190">
                  <c:v>290.69651579999999</c:v>
                </c:pt>
                <c:pt idx="191">
                  <c:v>324.73061269999994</c:v>
                </c:pt>
                <c:pt idx="192">
                  <c:v>290.69648380000001</c:v>
                </c:pt>
                <c:pt idx="193">
                  <c:v>290.74288579999995</c:v>
                </c:pt>
                <c:pt idx="194">
                  <c:v>290.73448579999996</c:v>
                </c:pt>
                <c:pt idx="195">
                  <c:v>290.55214909999995</c:v>
                </c:pt>
                <c:pt idx="196">
                  <c:v>290.56162489999997</c:v>
                </c:pt>
                <c:pt idx="197">
                  <c:v>292.58610199999998</c:v>
                </c:pt>
                <c:pt idx="198">
                  <c:v>293.05208849999997</c:v>
                </c:pt>
                <c:pt idx="199">
                  <c:v>292.4963606</c:v>
                </c:pt>
                <c:pt idx="200">
                  <c:v>292.55098579999998</c:v>
                </c:pt>
                <c:pt idx="201">
                  <c:v>309.06006119999995</c:v>
                </c:pt>
                <c:pt idx="202">
                  <c:v>292.62679219999995</c:v>
                </c:pt>
                <c:pt idx="203">
                  <c:v>292.08276969999997</c:v>
                </c:pt>
                <c:pt idx="204">
                  <c:v>292.07238719999998</c:v>
                </c:pt>
                <c:pt idx="205">
                  <c:v>292.10836769999997</c:v>
                </c:pt>
                <c:pt idx="206">
                  <c:v>291.83193969999996</c:v>
                </c:pt>
                <c:pt idx="207">
                  <c:v>297.20639119999998</c:v>
                </c:pt>
                <c:pt idx="208">
                  <c:v>294.40434099999999</c:v>
                </c:pt>
                <c:pt idx="209">
                  <c:v>291.97407669999996</c:v>
                </c:pt>
                <c:pt idx="210">
                  <c:v>291.70819689999996</c:v>
                </c:pt>
                <c:pt idx="211">
                  <c:v>291.90495909999999</c:v>
                </c:pt>
                <c:pt idx="212">
                  <c:v>317.23098879999998</c:v>
                </c:pt>
                <c:pt idx="213">
                  <c:v>290.25905899999992</c:v>
                </c:pt>
                <c:pt idx="214">
                  <c:v>290.46363179999997</c:v>
                </c:pt>
                <c:pt idx="215">
                  <c:v>290.58559309999998</c:v>
                </c:pt>
                <c:pt idx="216">
                  <c:v>291.14912459999999</c:v>
                </c:pt>
                <c:pt idx="217">
                  <c:v>291.38546229999997</c:v>
                </c:pt>
                <c:pt idx="218">
                  <c:v>291.64632549999999</c:v>
                </c:pt>
                <c:pt idx="219">
                  <c:v>388.95277109999995</c:v>
                </c:pt>
                <c:pt idx="220">
                  <c:v>437.89721420000001</c:v>
                </c:pt>
                <c:pt idx="221">
                  <c:v>291.87820389999996</c:v>
                </c:pt>
                <c:pt idx="222">
                  <c:v>290.78514239999998</c:v>
                </c:pt>
                <c:pt idx="223">
                  <c:v>290.86819499999996</c:v>
                </c:pt>
                <c:pt idx="224">
                  <c:v>290.88101519999998</c:v>
                </c:pt>
                <c:pt idx="225">
                  <c:v>291.11010659999999</c:v>
                </c:pt>
                <c:pt idx="226">
                  <c:v>357.44350229999998</c:v>
                </c:pt>
                <c:pt idx="227">
                  <c:v>295.65053939999996</c:v>
                </c:pt>
                <c:pt idx="228">
                  <c:v>291.7238041</c:v>
                </c:pt>
                <c:pt idx="229">
                  <c:v>290.42014759999995</c:v>
                </c:pt>
                <c:pt idx="230">
                  <c:v>290.37712549999998</c:v>
                </c:pt>
                <c:pt idx="231">
                  <c:v>290.42338969999997</c:v>
                </c:pt>
                <c:pt idx="232">
                  <c:v>290.47578529999998</c:v>
                </c:pt>
                <c:pt idx="233">
                  <c:v>306.23348539999995</c:v>
                </c:pt>
                <c:pt idx="234">
                  <c:v>291.12181199999998</c:v>
                </c:pt>
                <c:pt idx="235">
                  <c:v>146.09158250000002</c:v>
                </c:pt>
                <c:pt idx="236">
                  <c:v>90.893562500000016</c:v>
                </c:pt>
                <c:pt idx="237">
                  <c:v>90.895284100000012</c:v>
                </c:pt>
                <c:pt idx="238">
                  <c:v>90.924826300000007</c:v>
                </c:pt>
                <c:pt idx="239">
                  <c:v>90.99450130000001</c:v>
                </c:pt>
                <c:pt idx="240">
                  <c:v>103.9060178</c:v>
                </c:pt>
                <c:pt idx="241">
                  <c:v>107.5963591</c:v>
                </c:pt>
                <c:pt idx="242">
                  <c:v>91.190706200000008</c:v>
                </c:pt>
                <c:pt idx="243">
                  <c:v>91.147786400000001</c:v>
                </c:pt>
                <c:pt idx="244">
                  <c:v>91.354581800000005</c:v>
                </c:pt>
                <c:pt idx="245">
                  <c:v>91.391370200000011</c:v>
                </c:pt>
                <c:pt idx="246">
                  <c:v>91.210772600000013</c:v>
                </c:pt>
                <c:pt idx="247">
                  <c:v>104.88825560000001</c:v>
                </c:pt>
                <c:pt idx="248">
                  <c:v>108.09497820000001</c:v>
                </c:pt>
                <c:pt idx="249">
                  <c:v>91.342230700000002</c:v>
                </c:pt>
                <c:pt idx="250">
                  <c:v>91.1955217</c:v>
                </c:pt>
                <c:pt idx="251">
                  <c:v>91.644987200000003</c:v>
                </c:pt>
                <c:pt idx="252">
                  <c:v>91.38969800000001</c:v>
                </c:pt>
                <c:pt idx="253">
                  <c:v>91.071422500000011</c:v>
                </c:pt>
                <c:pt idx="254">
                  <c:v>96.308196200000012</c:v>
                </c:pt>
                <c:pt idx="255">
                  <c:v>91.208543000000006</c:v>
                </c:pt>
                <c:pt idx="256">
                  <c:v>91.181230400000004</c:v>
                </c:pt>
                <c:pt idx="257">
                  <c:v>91.303301000000005</c:v>
                </c:pt>
                <c:pt idx="258">
                  <c:v>91.725252800000007</c:v>
                </c:pt>
                <c:pt idx="259">
                  <c:v>91.287136400000009</c:v>
                </c:pt>
                <c:pt idx="260">
                  <c:v>91.291038200000003</c:v>
                </c:pt>
                <c:pt idx="261">
                  <c:v>108.26665740000001</c:v>
                </c:pt>
                <c:pt idx="262">
                  <c:v>91.704579600000017</c:v>
                </c:pt>
                <c:pt idx="263">
                  <c:v>93.005043400000005</c:v>
                </c:pt>
                <c:pt idx="264">
                  <c:v>93.2319052</c:v>
                </c:pt>
                <c:pt idx="265">
                  <c:v>91.601510000000005</c:v>
                </c:pt>
                <c:pt idx="266">
                  <c:v>91.270971800000012</c:v>
                </c:pt>
                <c:pt idx="267">
                  <c:v>93.891665799999998</c:v>
                </c:pt>
                <c:pt idx="268">
                  <c:v>102.314182</c:v>
                </c:pt>
                <c:pt idx="269">
                  <c:v>91.129392200000012</c:v>
                </c:pt>
                <c:pt idx="270">
                  <c:v>91.264840400000011</c:v>
                </c:pt>
                <c:pt idx="271">
                  <c:v>92.0022807</c:v>
                </c:pt>
                <c:pt idx="272">
                  <c:v>91.491702200000006</c:v>
                </c:pt>
                <c:pt idx="273">
                  <c:v>91.251462800000013</c:v>
                </c:pt>
                <c:pt idx="274">
                  <c:v>102.19641890000001</c:v>
                </c:pt>
                <c:pt idx="275">
                  <c:v>101.1943653</c:v>
                </c:pt>
                <c:pt idx="276">
                  <c:v>91.192935800000001</c:v>
                </c:pt>
                <c:pt idx="277">
                  <c:v>91.247561000000005</c:v>
                </c:pt>
                <c:pt idx="278">
                  <c:v>91.760622999999995</c:v>
                </c:pt>
                <c:pt idx="279">
                  <c:v>91.380222200000006</c:v>
                </c:pt>
                <c:pt idx="280">
                  <c:v>91.123818200000002</c:v>
                </c:pt>
                <c:pt idx="281">
                  <c:v>91.007321500000003</c:v>
                </c:pt>
                <c:pt idx="282">
                  <c:v>92.456967400000011</c:v>
                </c:pt>
                <c:pt idx="283">
                  <c:v>91.241856200000001</c:v>
                </c:pt>
                <c:pt idx="284">
                  <c:v>91.183918599999998</c:v>
                </c:pt>
                <c:pt idx="285">
                  <c:v>105.81242490000001</c:v>
                </c:pt>
                <c:pt idx="286">
                  <c:v>90.871873300000004</c:v>
                </c:pt>
                <c:pt idx="287">
                  <c:v>90.902530300000009</c:v>
                </c:pt>
                <c:pt idx="288">
                  <c:v>90.914793100000011</c:v>
                </c:pt>
                <c:pt idx="289">
                  <c:v>91.519522800000004</c:v>
                </c:pt>
                <c:pt idx="290">
                  <c:v>90.872077900000008</c:v>
                </c:pt>
                <c:pt idx="291">
                  <c:v>85.555463500000002</c:v>
                </c:pt>
                <c:pt idx="292">
                  <c:v>90.877094500000013</c:v>
                </c:pt>
                <c:pt idx="293">
                  <c:v>85.501293399999994</c:v>
                </c:pt>
                <c:pt idx="294">
                  <c:v>90.754819300000008</c:v>
                </c:pt>
                <c:pt idx="295">
                  <c:v>90.740023500000007</c:v>
                </c:pt>
                <c:pt idx="296">
                  <c:v>91.111675099999999</c:v>
                </c:pt>
                <c:pt idx="297">
                  <c:v>90.870201100000003</c:v>
                </c:pt>
                <c:pt idx="298">
                  <c:v>90.995718400000001</c:v>
                </c:pt>
                <c:pt idx="299">
                  <c:v>90.868528900000001</c:v>
                </c:pt>
                <c:pt idx="300">
                  <c:v>0.1287594</c:v>
                </c:pt>
                <c:pt idx="301">
                  <c:v>0.11593920000000001</c:v>
                </c:pt>
                <c:pt idx="302">
                  <c:v>0.122628</c:v>
                </c:pt>
                <c:pt idx="303">
                  <c:v>0.35734630000000001</c:v>
                </c:pt>
                <c:pt idx="304">
                  <c:v>0.19443730000000001</c:v>
                </c:pt>
                <c:pt idx="305">
                  <c:v>0.3696585</c:v>
                </c:pt>
                <c:pt idx="306">
                  <c:v>9.3085799999999996E-2</c:v>
                </c:pt>
                <c:pt idx="307">
                  <c:v>0.1014468</c:v>
                </c:pt>
                <c:pt idx="308">
                  <c:v>0.1047912</c:v>
                </c:pt>
                <c:pt idx="309">
                  <c:v>9.2528399999999997E-2</c:v>
                </c:pt>
                <c:pt idx="310">
                  <c:v>0.44704879999999997</c:v>
                </c:pt>
                <c:pt idx="311">
                  <c:v>8.4724800000000003E-2</c:v>
                </c:pt>
                <c:pt idx="312">
                  <c:v>0.35658780000000001</c:v>
                </c:pt>
                <c:pt idx="313">
                  <c:v>0.14006260000000001</c:v>
                </c:pt>
                <c:pt idx="314">
                  <c:v>0.1020042</c:v>
                </c:pt>
                <c:pt idx="315">
                  <c:v>0.1109226</c:v>
                </c:pt>
                <c:pt idx="316">
                  <c:v>8.86266E-2</c:v>
                </c:pt>
                <c:pt idx="317">
                  <c:v>0.24389069999999999</c:v>
                </c:pt>
                <c:pt idx="318">
                  <c:v>5.3406848999999994</c:v>
                </c:pt>
                <c:pt idx="319">
                  <c:v>0.1994504</c:v>
                </c:pt>
                <c:pt idx="320">
                  <c:v>1.1807699999999999E-2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2.0726099999999997E-2</c:v>
                </c:pt>
                <c:pt idx="325">
                  <c:v>2.2296E-2</c:v>
                </c:pt>
                <c:pt idx="326">
                  <c:v>6.6888E-3</c:v>
                </c:pt>
                <c:pt idx="327">
                  <c:v>0.32306599999999996</c:v>
                </c:pt>
                <c:pt idx="328">
                  <c:v>0</c:v>
                </c:pt>
                <c:pt idx="329">
                  <c:v>0</c:v>
                </c:pt>
                <c:pt idx="330">
                  <c:v>5.0166000000000004E-3</c:v>
                </c:pt>
                <c:pt idx="331">
                  <c:v>0.32113980000000003</c:v>
                </c:pt>
                <c:pt idx="332">
                  <c:v>5.3483862000000002</c:v>
                </c:pt>
                <c:pt idx="333">
                  <c:v>1.78368E-2</c:v>
                </c:pt>
                <c:pt idx="334">
                  <c:v>1.8951599999999999E-2</c:v>
                </c:pt>
                <c:pt idx="335">
                  <c:v>1.78368E-2</c:v>
                </c:pt>
                <c:pt idx="336">
                  <c:v>1.4492400000000001E-2</c:v>
                </c:pt>
                <c:pt idx="337">
                  <c:v>2.3968199999999999E-2</c:v>
                </c:pt>
                <c:pt idx="338">
                  <c:v>0.13321859999999999</c:v>
                </c:pt>
                <c:pt idx="339">
                  <c:v>0.20853450000000001</c:v>
                </c:pt>
                <c:pt idx="340">
                  <c:v>0.1615472</c:v>
                </c:pt>
                <c:pt idx="341">
                  <c:v>0.27715109999999998</c:v>
                </c:pt>
                <c:pt idx="342">
                  <c:v>1.78368E-2</c:v>
                </c:pt>
                <c:pt idx="343">
                  <c:v>1.8951599999999999E-2</c:v>
                </c:pt>
                <c:pt idx="344">
                  <c:v>1.6975999999999998E-2</c:v>
                </c:pt>
                <c:pt idx="345">
                  <c:v>0.19731960000000001</c:v>
                </c:pt>
                <c:pt idx="346">
                  <c:v>2.8984800000000002E-2</c:v>
                </c:pt>
                <c:pt idx="347">
                  <c:v>5.4587514000000006</c:v>
                </c:pt>
                <c:pt idx="348">
                  <c:v>9.5576399999999992E-2</c:v>
                </c:pt>
                <c:pt idx="349">
                  <c:v>0</c:v>
                </c:pt>
                <c:pt idx="350">
                  <c:v>0</c:v>
                </c:pt>
                <c:pt idx="351">
                  <c:v>2.2296E-3</c:v>
                </c:pt>
                <c:pt idx="352">
                  <c:v>35.15578</c:v>
                </c:pt>
                <c:pt idx="353">
                  <c:v>1.6761090000000001</c:v>
                </c:pt>
                <c:pt idx="354">
                  <c:v>10.503347099999999</c:v>
                </c:pt>
                <c:pt idx="355">
                  <c:v>0.15243119999999999</c:v>
                </c:pt>
                <c:pt idx="356">
                  <c:v>5.3609558999999996</c:v>
                </c:pt>
                <c:pt idx="357">
                  <c:v>0</c:v>
                </c:pt>
                <c:pt idx="358">
                  <c:v>2.6250699999999998E-2</c:v>
                </c:pt>
                <c:pt idx="359">
                  <c:v>290.60721699999999</c:v>
                </c:pt>
                <c:pt idx="360">
                  <c:v>0.20041349999999999</c:v>
                </c:pt>
                <c:pt idx="361">
                  <c:v>82.443527800000012</c:v>
                </c:pt>
                <c:pt idx="362">
                  <c:v>0.55193539999999996</c:v>
                </c:pt>
                <c:pt idx="363">
                  <c:v>0.1143728</c:v>
                </c:pt>
                <c:pt idx="364">
                  <c:v>5.6297399999999997E-2</c:v>
                </c:pt>
                <c:pt idx="365">
                  <c:v>0.27669250000000001</c:v>
                </c:pt>
                <c:pt idx="366">
                  <c:v>89.897977499999996</c:v>
                </c:pt>
                <c:pt idx="367">
                  <c:v>117.125969</c:v>
                </c:pt>
                <c:pt idx="368">
                  <c:v>59.830209099999998</c:v>
                </c:pt>
                <c:pt idx="369">
                  <c:v>5.7121708</c:v>
                </c:pt>
                <c:pt idx="370">
                  <c:v>261.75949449999996</c:v>
                </c:pt>
                <c:pt idx="371">
                  <c:v>5.3806130999999997</c:v>
                </c:pt>
                <c:pt idx="372">
                  <c:v>5.3733668999999997</c:v>
                </c:pt>
                <c:pt idx="373">
                  <c:v>117.62723770000001</c:v>
                </c:pt>
                <c:pt idx="374">
                  <c:v>121.8002805</c:v>
                </c:pt>
                <c:pt idx="375">
                  <c:v>305.45314139999999</c:v>
                </c:pt>
                <c:pt idx="376">
                  <c:v>2.1561007999999999</c:v>
                </c:pt>
                <c:pt idx="377">
                  <c:v>0.1361079</c:v>
                </c:pt>
                <c:pt idx="378">
                  <c:v>0.12815260000000001</c:v>
                </c:pt>
                <c:pt idx="379">
                  <c:v>0.2125281</c:v>
                </c:pt>
                <c:pt idx="380">
                  <c:v>185.79872730000002</c:v>
                </c:pt>
                <c:pt idx="381">
                  <c:v>3.7096526999999999</c:v>
                </c:pt>
                <c:pt idx="382">
                  <c:v>87.181273300000001</c:v>
                </c:pt>
                <c:pt idx="383">
                  <c:v>7.5718691000000007</c:v>
                </c:pt>
                <c:pt idx="384">
                  <c:v>0.2146554</c:v>
                </c:pt>
                <c:pt idx="385">
                  <c:v>0.27166889999999999</c:v>
                </c:pt>
                <c:pt idx="386">
                  <c:v>0.87837379999999998</c:v>
                </c:pt>
                <c:pt idx="387">
                  <c:v>141.97770460000001</c:v>
                </c:pt>
                <c:pt idx="388">
                  <c:v>16.972697999999998</c:v>
                </c:pt>
                <c:pt idx="389">
                  <c:v>62.916586199999998</c:v>
                </c:pt>
                <c:pt idx="390">
                  <c:v>1.2022306</c:v>
                </c:pt>
                <c:pt idx="391">
                  <c:v>165.90159539999999</c:v>
                </c:pt>
                <c:pt idx="392">
                  <c:v>0.22808590000000001</c:v>
                </c:pt>
                <c:pt idx="393">
                  <c:v>0.1287594</c:v>
                </c:pt>
                <c:pt idx="394">
                  <c:v>95.748572299999992</c:v>
                </c:pt>
                <c:pt idx="395">
                  <c:v>220.53140670000002</c:v>
                </c:pt>
                <c:pt idx="396">
                  <c:v>86.596207800000002</c:v>
                </c:pt>
                <c:pt idx="397">
                  <c:v>1.3175950000000001</c:v>
                </c:pt>
                <c:pt idx="398">
                  <c:v>671.0871085</c:v>
                </c:pt>
                <c:pt idx="399">
                  <c:v>0.1415796</c:v>
                </c:pt>
                <c:pt idx="400">
                  <c:v>0.18941720000000001</c:v>
                </c:pt>
                <c:pt idx="401">
                  <c:v>81.607860100000011</c:v>
                </c:pt>
                <c:pt idx="402">
                  <c:v>74.361659200000005</c:v>
                </c:pt>
                <c:pt idx="403">
                  <c:v>87.412594299999995</c:v>
                </c:pt>
                <c:pt idx="404">
                  <c:v>1.8714989</c:v>
                </c:pt>
                <c:pt idx="405">
                  <c:v>0.26420759999999999</c:v>
                </c:pt>
                <c:pt idx="406">
                  <c:v>5.5439312999999997</c:v>
                </c:pt>
                <c:pt idx="407">
                  <c:v>0.2279766</c:v>
                </c:pt>
                <c:pt idx="408">
                  <c:v>141.21316339999998</c:v>
                </c:pt>
                <c:pt idx="409">
                  <c:v>376.1107136</c:v>
                </c:pt>
                <c:pt idx="410">
                  <c:v>156.4603152</c:v>
                </c:pt>
                <c:pt idx="411">
                  <c:v>64.918573299999991</c:v>
                </c:pt>
                <c:pt idx="412">
                  <c:v>64.089617000000004</c:v>
                </c:pt>
                <c:pt idx="413">
                  <c:v>64.032204800000002</c:v>
                </c:pt>
                <c:pt idx="414">
                  <c:v>64.04446759999999</c:v>
                </c:pt>
                <c:pt idx="415">
                  <c:v>160.69819770000001</c:v>
                </c:pt>
                <c:pt idx="416">
                  <c:v>197.75702699999999</c:v>
                </c:pt>
                <c:pt idx="417">
                  <c:v>151.06186529999999</c:v>
                </c:pt>
                <c:pt idx="418">
                  <c:v>66.491454000000004</c:v>
                </c:pt>
                <c:pt idx="419">
                  <c:v>64.246803900000003</c:v>
                </c:pt>
                <c:pt idx="420">
                  <c:v>69.459639600000003</c:v>
                </c:pt>
                <c:pt idx="421">
                  <c:v>64.116626199999999</c:v>
                </c:pt>
                <c:pt idx="422">
                  <c:v>333.42756200000002</c:v>
                </c:pt>
                <c:pt idx="423">
                  <c:v>189.81144999999998</c:v>
                </c:pt>
                <c:pt idx="424">
                  <c:v>156.09020149999998</c:v>
                </c:pt>
                <c:pt idx="425">
                  <c:v>65.494420399999996</c:v>
                </c:pt>
                <c:pt idx="426">
                  <c:v>64.130712899999992</c:v>
                </c:pt>
                <c:pt idx="427">
                  <c:v>69.426195499999992</c:v>
                </c:pt>
                <c:pt idx="428">
                  <c:v>64.133450499999995</c:v>
                </c:pt>
                <c:pt idx="429">
                  <c:v>195.95983439999998</c:v>
                </c:pt>
                <c:pt idx="430">
                  <c:v>255.4550174</c:v>
                </c:pt>
                <c:pt idx="431">
                  <c:v>146.47700269999999</c:v>
                </c:pt>
                <c:pt idx="432">
                  <c:v>70.616399900000005</c:v>
                </c:pt>
                <c:pt idx="433">
                  <c:v>64.218835100000007</c:v>
                </c:pt>
                <c:pt idx="434">
                  <c:v>64.106998699999991</c:v>
                </c:pt>
                <c:pt idx="435">
                  <c:v>64.129654500000001</c:v>
                </c:pt>
                <c:pt idx="436">
                  <c:v>133.87056239999998</c:v>
                </c:pt>
                <c:pt idx="437">
                  <c:v>366.36585649999995</c:v>
                </c:pt>
                <c:pt idx="438">
                  <c:v>147.41794340000001</c:v>
                </c:pt>
                <c:pt idx="439">
                  <c:v>70.609407699999991</c:v>
                </c:pt>
                <c:pt idx="440">
                  <c:v>69.5684878</c:v>
                </c:pt>
                <c:pt idx="441">
                  <c:v>64.154275499999997</c:v>
                </c:pt>
                <c:pt idx="442">
                  <c:v>64.171960599999991</c:v>
                </c:pt>
                <c:pt idx="443">
                  <c:v>126.91473669999999</c:v>
                </c:pt>
                <c:pt idx="444">
                  <c:v>411.39608909999998</c:v>
                </c:pt>
                <c:pt idx="445">
                  <c:v>153.02379200000001</c:v>
                </c:pt>
                <c:pt idx="446">
                  <c:v>70.107341899999994</c:v>
                </c:pt>
                <c:pt idx="447">
                  <c:v>69.557540899999992</c:v>
                </c:pt>
                <c:pt idx="448">
                  <c:v>69.510920399999989</c:v>
                </c:pt>
                <c:pt idx="449">
                  <c:v>69.377549999999999</c:v>
                </c:pt>
                <c:pt idx="450">
                  <c:v>132.20783799999998</c:v>
                </c:pt>
                <c:pt idx="451">
                  <c:v>219.30381549999998</c:v>
                </c:pt>
                <c:pt idx="452">
                  <c:v>152.77793270000001</c:v>
                </c:pt>
                <c:pt idx="453">
                  <c:v>70.136831200000003</c:v>
                </c:pt>
                <c:pt idx="454">
                  <c:v>64.197043600000001</c:v>
                </c:pt>
                <c:pt idx="455">
                  <c:v>64.154832900000002</c:v>
                </c:pt>
                <c:pt idx="456">
                  <c:v>69.489030100000008</c:v>
                </c:pt>
                <c:pt idx="457">
                  <c:v>273.82703199999997</c:v>
                </c:pt>
                <c:pt idx="458">
                  <c:v>298.08386289999999</c:v>
                </c:pt>
                <c:pt idx="459">
                  <c:v>133.05646189999999</c:v>
                </c:pt>
                <c:pt idx="460">
                  <c:v>70.345457599999989</c:v>
                </c:pt>
                <c:pt idx="461">
                  <c:v>64.308982200000003</c:v>
                </c:pt>
                <c:pt idx="462">
                  <c:v>64.137553400000002</c:v>
                </c:pt>
                <c:pt idx="463">
                  <c:v>69.190669299999996</c:v>
                </c:pt>
                <c:pt idx="464">
                  <c:v>306.38086850000002</c:v>
                </c:pt>
                <c:pt idx="465">
                  <c:v>335.17896869999998</c:v>
                </c:pt>
                <c:pt idx="466">
                  <c:v>152.15885879999999</c:v>
                </c:pt>
                <c:pt idx="467">
                  <c:v>64.3733936</c:v>
                </c:pt>
                <c:pt idx="468">
                  <c:v>69.171618899999999</c:v>
                </c:pt>
                <c:pt idx="469">
                  <c:v>69.081722299999996</c:v>
                </c:pt>
                <c:pt idx="470">
                  <c:v>63.951487599999993</c:v>
                </c:pt>
                <c:pt idx="471">
                  <c:v>232.6518619</c:v>
                </c:pt>
                <c:pt idx="472">
                  <c:v>332.79166930000002</c:v>
                </c:pt>
                <c:pt idx="473">
                  <c:v>396.52999369999998</c:v>
                </c:pt>
                <c:pt idx="474">
                  <c:v>71.844263900000001</c:v>
                </c:pt>
                <c:pt idx="475">
                  <c:v>69.573906600000001</c:v>
                </c:pt>
                <c:pt idx="476">
                  <c:v>69.378615399999987</c:v>
                </c:pt>
                <c:pt idx="477">
                  <c:v>69.468558000000002</c:v>
                </c:pt>
                <c:pt idx="478">
                  <c:v>144.4316216</c:v>
                </c:pt>
                <c:pt idx="479">
                  <c:v>295.04596939999999</c:v>
                </c:pt>
                <c:pt idx="480">
                  <c:v>157.32915020000002</c:v>
                </c:pt>
                <c:pt idx="481">
                  <c:v>69.889952399999999</c:v>
                </c:pt>
                <c:pt idx="482">
                  <c:v>69.596202599999998</c:v>
                </c:pt>
                <c:pt idx="483">
                  <c:v>69.436228700000001</c:v>
                </c:pt>
                <c:pt idx="484">
                  <c:v>290.67110480000002</c:v>
                </c:pt>
                <c:pt idx="485">
                  <c:v>154.7479822</c:v>
                </c:pt>
                <c:pt idx="486">
                  <c:v>324.81586809999999</c:v>
                </c:pt>
                <c:pt idx="487">
                  <c:v>158.27799679999998</c:v>
                </c:pt>
                <c:pt idx="488">
                  <c:v>69.824535499999996</c:v>
                </c:pt>
                <c:pt idx="489">
                  <c:v>69.60735059999999</c:v>
                </c:pt>
                <c:pt idx="490">
                  <c:v>69.406686499999992</c:v>
                </c:pt>
                <c:pt idx="491">
                  <c:v>69.457409900000002</c:v>
                </c:pt>
                <c:pt idx="492">
                  <c:v>310.52123619999998</c:v>
                </c:pt>
                <c:pt idx="493">
                  <c:v>315.35303579999999</c:v>
                </c:pt>
                <c:pt idx="494">
                  <c:v>154.5161037</c:v>
                </c:pt>
                <c:pt idx="495">
                  <c:v>69.92866699999999</c:v>
                </c:pt>
                <c:pt idx="496">
                  <c:v>69.481378199999995</c:v>
                </c:pt>
                <c:pt idx="497">
                  <c:v>69.2991083</c:v>
                </c:pt>
                <c:pt idx="498">
                  <c:v>63.9770222</c:v>
                </c:pt>
                <c:pt idx="499">
                  <c:v>177.6181072</c:v>
                </c:pt>
                <c:pt idx="500">
                  <c:v>284.09023080000003</c:v>
                </c:pt>
                <c:pt idx="501">
                  <c:v>154.97317179999999</c:v>
                </c:pt>
                <c:pt idx="502">
                  <c:v>69.896186099999994</c:v>
                </c:pt>
                <c:pt idx="503">
                  <c:v>69.118916400000003</c:v>
                </c:pt>
                <c:pt idx="504">
                  <c:v>69.084509299999993</c:v>
                </c:pt>
                <c:pt idx="505">
                  <c:v>69.086181499999995</c:v>
                </c:pt>
                <c:pt idx="506">
                  <c:v>69.109998000000004</c:v>
                </c:pt>
                <c:pt idx="507">
                  <c:v>746.69685609999988</c:v>
                </c:pt>
                <c:pt idx="508">
                  <c:v>69.108174099999985</c:v>
                </c:pt>
                <c:pt idx="509">
                  <c:v>69.100218799999993</c:v>
                </c:pt>
                <c:pt idx="510">
                  <c:v>69.092312899999996</c:v>
                </c:pt>
                <c:pt idx="511">
                  <c:v>69.08562409999999</c:v>
                </c:pt>
                <c:pt idx="512">
                  <c:v>63.774685999999996</c:v>
                </c:pt>
                <c:pt idx="513">
                  <c:v>63.797539399999998</c:v>
                </c:pt>
                <c:pt idx="514">
                  <c:v>758.39494009999999</c:v>
                </c:pt>
                <c:pt idx="515">
                  <c:v>64.083358399999995</c:v>
                </c:pt>
                <c:pt idx="516">
                  <c:v>69.103968899999998</c:v>
                </c:pt>
                <c:pt idx="517">
                  <c:v>69.126469499999999</c:v>
                </c:pt>
                <c:pt idx="518">
                  <c:v>69.083394499999997</c:v>
                </c:pt>
                <c:pt idx="519">
                  <c:v>69.096468699999988</c:v>
                </c:pt>
                <c:pt idx="520">
                  <c:v>69.140453899999997</c:v>
                </c:pt>
                <c:pt idx="521">
                  <c:v>69.092009499999989</c:v>
                </c:pt>
                <c:pt idx="522">
                  <c:v>63.783604399999994</c:v>
                </c:pt>
                <c:pt idx="523">
                  <c:v>63.774382600000003</c:v>
                </c:pt>
                <c:pt idx="524">
                  <c:v>63.774128599999997</c:v>
                </c:pt>
                <c:pt idx="525">
                  <c:v>69.08116489999999</c:v>
                </c:pt>
                <c:pt idx="526">
                  <c:v>63.776915599999995</c:v>
                </c:pt>
                <c:pt idx="527">
                  <c:v>69.138425400000003</c:v>
                </c:pt>
                <c:pt idx="528">
                  <c:v>63.770632499999998</c:v>
                </c:pt>
                <c:pt idx="529">
                  <c:v>69.1017887</c:v>
                </c:pt>
                <c:pt idx="530">
                  <c:v>69.106046799999987</c:v>
                </c:pt>
                <c:pt idx="531">
                  <c:v>69.086181499999995</c:v>
                </c:pt>
                <c:pt idx="532">
                  <c:v>63.762423200000001</c:v>
                </c:pt>
                <c:pt idx="533">
                  <c:v>63.777321299999997</c:v>
                </c:pt>
                <c:pt idx="534">
                  <c:v>64.035213900000002</c:v>
                </c:pt>
                <c:pt idx="535">
                  <c:v>69.305056099999987</c:v>
                </c:pt>
                <c:pt idx="536">
                  <c:v>63.789584099999992</c:v>
                </c:pt>
                <c:pt idx="537">
                  <c:v>63.766324999999995</c:v>
                </c:pt>
                <c:pt idx="538">
                  <c:v>69.092870300000001</c:v>
                </c:pt>
                <c:pt idx="539">
                  <c:v>63.770784199999994</c:v>
                </c:pt>
                <c:pt idx="540">
                  <c:v>63.772456399999996</c:v>
                </c:pt>
                <c:pt idx="541">
                  <c:v>97.950556699999993</c:v>
                </c:pt>
                <c:pt idx="542">
                  <c:v>69.216210900000007</c:v>
                </c:pt>
                <c:pt idx="543">
                  <c:v>84.549443999999994</c:v>
                </c:pt>
                <c:pt idx="544">
                  <c:v>71.721616799999993</c:v>
                </c:pt>
                <c:pt idx="545">
                  <c:v>69.350099699999987</c:v>
                </c:pt>
                <c:pt idx="546">
                  <c:v>69.163102699999996</c:v>
                </c:pt>
                <c:pt idx="547">
                  <c:v>69.236227899999989</c:v>
                </c:pt>
                <c:pt idx="548">
                  <c:v>294.90930659999998</c:v>
                </c:pt>
                <c:pt idx="549">
                  <c:v>70.720023400000002</c:v>
                </c:pt>
                <c:pt idx="550">
                  <c:v>162.7171415</c:v>
                </c:pt>
                <c:pt idx="551">
                  <c:v>72.857075399999999</c:v>
                </c:pt>
                <c:pt idx="552">
                  <c:v>69.289632499999996</c:v>
                </c:pt>
                <c:pt idx="553">
                  <c:v>63.909576799999996</c:v>
                </c:pt>
                <c:pt idx="554">
                  <c:v>64.619255999999993</c:v>
                </c:pt>
                <c:pt idx="555">
                  <c:v>64.415696099999991</c:v>
                </c:pt>
                <c:pt idx="556">
                  <c:v>69.207391299999998</c:v>
                </c:pt>
                <c:pt idx="557">
                  <c:v>69.880476599999994</c:v>
                </c:pt>
                <c:pt idx="558">
                  <c:v>69.219400100000001</c:v>
                </c:pt>
                <c:pt idx="559">
                  <c:v>69.229990700000002</c:v>
                </c:pt>
                <c:pt idx="560">
                  <c:v>63.862197799999997</c:v>
                </c:pt>
                <c:pt idx="561">
                  <c:v>69.199333699999997</c:v>
                </c:pt>
                <c:pt idx="562">
                  <c:v>69.614953099999994</c:v>
                </c:pt>
                <c:pt idx="563">
                  <c:v>69.489308500000007</c:v>
                </c:pt>
                <c:pt idx="564">
                  <c:v>73.135316799999998</c:v>
                </c:pt>
                <c:pt idx="565">
                  <c:v>63.967546399999996</c:v>
                </c:pt>
                <c:pt idx="566">
                  <c:v>69.203235499999991</c:v>
                </c:pt>
                <c:pt idx="567">
                  <c:v>63.8828216</c:v>
                </c:pt>
                <c:pt idx="568">
                  <c:v>69.191328999999996</c:v>
                </c:pt>
                <c:pt idx="569">
                  <c:v>69.513149999999996</c:v>
                </c:pt>
                <c:pt idx="570">
                  <c:v>12.1043387</c:v>
                </c:pt>
                <c:pt idx="571">
                  <c:v>0.70800740000000006</c:v>
                </c:pt>
                <c:pt idx="572">
                  <c:v>0.1120374</c:v>
                </c:pt>
                <c:pt idx="573">
                  <c:v>0.1237428</c:v>
                </c:pt>
                <c:pt idx="574">
                  <c:v>9.4757999999999995E-2</c:v>
                </c:pt>
                <c:pt idx="575">
                  <c:v>8.3610000000000004E-2</c:v>
                </c:pt>
                <c:pt idx="576">
                  <c:v>0.38237650000000001</c:v>
                </c:pt>
                <c:pt idx="577">
                  <c:v>7.3576799999999998E-2</c:v>
                </c:pt>
                <c:pt idx="578">
                  <c:v>0.5925163</c:v>
                </c:pt>
                <c:pt idx="579">
                  <c:v>0.26253539999999997</c:v>
                </c:pt>
                <c:pt idx="580">
                  <c:v>8.7511800000000001E-2</c:v>
                </c:pt>
                <c:pt idx="581">
                  <c:v>7.1904599999999999E-2</c:v>
                </c:pt>
                <c:pt idx="582">
                  <c:v>7.6363799999999996E-2</c:v>
                </c:pt>
                <c:pt idx="583">
                  <c:v>0.15718679999999999</c:v>
                </c:pt>
                <c:pt idx="584">
                  <c:v>6.7423546999999999</c:v>
                </c:pt>
                <c:pt idx="585">
                  <c:v>5.7347348</c:v>
                </c:pt>
                <c:pt idx="586">
                  <c:v>0.80971130000000002</c:v>
                </c:pt>
                <c:pt idx="587">
                  <c:v>0.31520599999999999</c:v>
                </c:pt>
                <c:pt idx="588">
                  <c:v>5.35104E-2</c:v>
                </c:pt>
                <c:pt idx="589">
                  <c:v>5.3861905999999999</c:v>
                </c:pt>
                <c:pt idx="590">
                  <c:v>0.46605679999999999</c:v>
                </c:pt>
                <c:pt idx="591">
                  <c:v>4.9460400000000002E-2</c:v>
                </c:pt>
                <c:pt idx="592">
                  <c:v>0.25326419999999999</c:v>
                </c:pt>
                <c:pt idx="593">
                  <c:v>0.1134062</c:v>
                </c:pt>
                <c:pt idx="594">
                  <c:v>4.5862E-2</c:v>
                </c:pt>
                <c:pt idx="595">
                  <c:v>3.9018E-3</c:v>
                </c:pt>
                <c:pt idx="596">
                  <c:v>7.8035999999999999E-3</c:v>
                </c:pt>
                <c:pt idx="597">
                  <c:v>8.5437399999999997E-2</c:v>
                </c:pt>
                <c:pt idx="598">
                  <c:v>9.12689E-2</c:v>
                </c:pt>
                <c:pt idx="599">
                  <c:v>2.5083000000000001E-2</c:v>
                </c:pt>
                <c:pt idx="600">
                  <c:v>1.3934999999999999E-2</c:v>
                </c:pt>
                <c:pt idx="601">
                  <c:v>5.3243156999999997</c:v>
                </c:pt>
                <c:pt idx="602">
                  <c:v>3.3444E-3</c:v>
                </c:pt>
                <c:pt idx="603">
                  <c:v>0.67881760000000002</c:v>
                </c:pt>
                <c:pt idx="604">
                  <c:v>55.091193599999997</c:v>
                </c:pt>
                <c:pt idx="605">
                  <c:v>2.2853399999999999E-2</c:v>
                </c:pt>
                <c:pt idx="606">
                  <c:v>21.260941200000001</c:v>
                </c:pt>
                <c:pt idx="607">
                  <c:v>0.65494509999999995</c:v>
                </c:pt>
                <c:pt idx="608">
                  <c:v>2.8984800000000002E-2</c:v>
                </c:pt>
                <c:pt idx="609">
                  <c:v>1.9508999999999999E-2</c:v>
                </c:pt>
                <c:pt idx="610">
                  <c:v>0.17148860000000002</c:v>
                </c:pt>
                <c:pt idx="611">
                  <c:v>193.4317906</c:v>
                </c:pt>
                <c:pt idx="612">
                  <c:v>41.650635899999997</c:v>
                </c:pt>
                <c:pt idx="613">
                  <c:v>83.931295500000004</c:v>
                </c:pt>
                <c:pt idx="614">
                  <c:v>0.26532240000000001</c:v>
                </c:pt>
                <c:pt idx="615">
                  <c:v>0.68515009999999998</c:v>
                </c:pt>
                <c:pt idx="616">
                  <c:v>3.1468400000000001E-2</c:v>
                </c:pt>
                <c:pt idx="617">
                  <c:v>3.0099600000000001E-2</c:v>
                </c:pt>
                <c:pt idx="618">
                  <c:v>179.48839760000001</c:v>
                </c:pt>
                <c:pt idx="619">
                  <c:v>41.8902383</c:v>
                </c:pt>
                <c:pt idx="620">
                  <c:v>93.484423700000008</c:v>
                </c:pt>
                <c:pt idx="621">
                  <c:v>5.5192540000000001</c:v>
                </c:pt>
                <c:pt idx="622">
                  <c:v>2.8984800000000002E-2</c:v>
                </c:pt>
                <c:pt idx="623">
                  <c:v>1.9508999999999999E-2</c:v>
                </c:pt>
                <c:pt idx="624">
                  <c:v>2.8984800000000002E-2</c:v>
                </c:pt>
                <c:pt idx="625">
                  <c:v>176.67185850000001</c:v>
                </c:pt>
                <c:pt idx="626">
                  <c:v>41.389184999999998</c:v>
                </c:pt>
                <c:pt idx="627">
                  <c:v>93.945721500000005</c:v>
                </c:pt>
                <c:pt idx="628">
                  <c:v>0.25235049999999998</c:v>
                </c:pt>
                <c:pt idx="629">
                  <c:v>2.7263200000000001E-2</c:v>
                </c:pt>
                <c:pt idx="630">
                  <c:v>6.1314000000000004E-3</c:v>
                </c:pt>
                <c:pt idx="631">
                  <c:v>3.7087471000000001</c:v>
                </c:pt>
                <c:pt idx="632">
                  <c:v>194.71481749999998</c:v>
                </c:pt>
                <c:pt idx="633">
                  <c:v>46.236558499999994</c:v>
                </c:pt>
                <c:pt idx="634">
                  <c:v>90.404987699999992</c:v>
                </c:pt>
                <c:pt idx="635">
                  <c:v>0.75005940000000004</c:v>
                </c:pt>
                <c:pt idx="636">
                  <c:v>5.4176554999999995</c:v>
                </c:pt>
                <c:pt idx="637">
                  <c:v>6.6330600000000003E-2</c:v>
                </c:pt>
                <c:pt idx="638">
                  <c:v>5.4012368999999998</c:v>
                </c:pt>
                <c:pt idx="639">
                  <c:v>206.96434959999999</c:v>
                </c:pt>
                <c:pt idx="640">
                  <c:v>49.936945399999999</c:v>
                </c:pt>
                <c:pt idx="641">
                  <c:v>101.50216500000001</c:v>
                </c:pt>
                <c:pt idx="642">
                  <c:v>6.5843179000000003</c:v>
                </c:pt>
                <c:pt idx="643">
                  <c:v>5.3912037000000002</c:v>
                </c:pt>
                <c:pt idx="644">
                  <c:v>5.3622189000000002</c:v>
                </c:pt>
                <c:pt idx="645">
                  <c:v>7.8306458000000001</c:v>
                </c:pt>
                <c:pt idx="646">
                  <c:v>145.3103275</c:v>
                </c:pt>
                <c:pt idx="647">
                  <c:v>51.855516399999999</c:v>
                </c:pt>
                <c:pt idx="648">
                  <c:v>103.09462040000001</c:v>
                </c:pt>
                <c:pt idx="649">
                  <c:v>8.5262632000000007</c:v>
                </c:pt>
                <c:pt idx="650">
                  <c:v>6.8173532000000003</c:v>
                </c:pt>
                <c:pt idx="651">
                  <c:v>5.4045813000000003</c:v>
                </c:pt>
                <c:pt idx="652">
                  <c:v>5.5539645000000002</c:v>
                </c:pt>
                <c:pt idx="653">
                  <c:v>204.90587109999998</c:v>
                </c:pt>
                <c:pt idx="654">
                  <c:v>56.610802199999995</c:v>
                </c:pt>
                <c:pt idx="655">
                  <c:v>107.029865</c:v>
                </c:pt>
                <c:pt idx="656">
                  <c:v>6.0288693999999996</c:v>
                </c:pt>
                <c:pt idx="657">
                  <c:v>5.3900888999999994</c:v>
                </c:pt>
                <c:pt idx="658">
                  <c:v>5.3616614999999994</c:v>
                </c:pt>
                <c:pt idx="659">
                  <c:v>5.3821336000000004</c:v>
                </c:pt>
                <c:pt idx="660">
                  <c:v>141.60083</c:v>
                </c:pt>
                <c:pt idx="661">
                  <c:v>59.712438400000003</c:v>
                </c:pt>
                <c:pt idx="662">
                  <c:v>105.8562838</c:v>
                </c:pt>
                <c:pt idx="663">
                  <c:v>5.6044868000000001</c:v>
                </c:pt>
                <c:pt idx="664">
                  <c:v>5.5762605000000001</c:v>
                </c:pt>
                <c:pt idx="665">
                  <c:v>5.5701290999999999</c:v>
                </c:pt>
                <c:pt idx="666">
                  <c:v>5.5673420999999994</c:v>
                </c:pt>
                <c:pt idx="667">
                  <c:v>202.4087188</c:v>
                </c:pt>
                <c:pt idx="668">
                  <c:v>53.917088800000002</c:v>
                </c:pt>
                <c:pt idx="669">
                  <c:v>107.08215670000001</c:v>
                </c:pt>
                <c:pt idx="670">
                  <c:v>5.5354185999999999</c:v>
                </c:pt>
                <c:pt idx="671">
                  <c:v>5.4346809</c:v>
                </c:pt>
                <c:pt idx="672">
                  <c:v>5.4029090999999996</c:v>
                </c:pt>
                <c:pt idx="673">
                  <c:v>5.4179588999999995</c:v>
                </c:pt>
                <c:pt idx="674">
                  <c:v>133.94453390000001</c:v>
                </c:pt>
                <c:pt idx="675">
                  <c:v>55.889268999999999</c:v>
                </c:pt>
                <c:pt idx="676">
                  <c:v>105.7193151</c:v>
                </c:pt>
                <c:pt idx="677">
                  <c:v>6.2978746999999995</c:v>
                </c:pt>
                <c:pt idx="678">
                  <c:v>5.5093724999999996</c:v>
                </c:pt>
                <c:pt idx="679">
                  <c:v>5.5177334999999994</c:v>
                </c:pt>
                <c:pt idx="680">
                  <c:v>5.5839124</c:v>
                </c:pt>
                <c:pt idx="681">
                  <c:v>34.2923975</c:v>
                </c:pt>
                <c:pt idx="682">
                  <c:v>6.3277450999999996</c:v>
                </c:pt>
                <c:pt idx="683">
                  <c:v>87.762114300000007</c:v>
                </c:pt>
                <c:pt idx="684">
                  <c:v>6.3358586999999993</c:v>
                </c:pt>
                <c:pt idx="685">
                  <c:v>5.8070027</c:v>
                </c:pt>
                <c:pt idx="686">
                  <c:v>5.4391400999999995</c:v>
                </c:pt>
                <c:pt idx="687">
                  <c:v>5.4034664999999995</c:v>
                </c:pt>
                <c:pt idx="688">
                  <c:v>115.4256041</c:v>
                </c:pt>
                <c:pt idx="689">
                  <c:v>35.532612700000001</c:v>
                </c:pt>
                <c:pt idx="690">
                  <c:v>87.000303599999995</c:v>
                </c:pt>
                <c:pt idx="691">
                  <c:v>72.502512499999995</c:v>
                </c:pt>
                <c:pt idx="692">
                  <c:v>5.3605466999999996</c:v>
                </c:pt>
                <c:pt idx="693">
                  <c:v>69.121855099999991</c:v>
                </c:pt>
                <c:pt idx="694">
                  <c:v>7.6991911999999996</c:v>
                </c:pt>
                <c:pt idx="695">
                  <c:v>173.57553129999999</c:v>
                </c:pt>
                <c:pt idx="696">
                  <c:v>103.7528183</c:v>
                </c:pt>
                <c:pt idx="697">
                  <c:v>151.81742659999998</c:v>
                </c:pt>
                <c:pt idx="698">
                  <c:v>73.926086299999994</c:v>
                </c:pt>
                <c:pt idx="699">
                  <c:v>69.3849479</c:v>
                </c:pt>
                <c:pt idx="700">
                  <c:v>69.19710409999999</c:v>
                </c:pt>
                <c:pt idx="701">
                  <c:v>69.173541600000007</c:v>
                </c:pt>
                <c:pt idx="702">
                  <c:v>130.65254010000001</c:v>
                </c:pt>
                <c:pt idx="703">
                  <c:v>69.251171900000003</c:v>
                </c:pt>
                <c:pt idx="704">
                  <c:v>69.2840585</c:v>
                </c:pt>
                <c:pt idx="705">
                  <c:v>69.240429599999999</c:v>
                </c:pt>
                <c:pt idx="706">
                  <c:v>69.234855600000003</c:v>
                </c:pt>
                <c:pt idx="707">
                  <c:v>69.211596499999999</c:v>
                </c:pt>
                <c:pt idx="708">
                  <c:v>259.45447109999998</c:v>
                </c:pt>
                <c:pt idx="709">
                  <c:v>100.9592808</c:v>
                </c:pt>
                <c:pt idx="710">
                  <c:v>689.20966020000003</c:v>
                </c:pt>
                <c:pt idx="711">
                  <c:v>81.930301999999998</c:v>
                </c:pt>
                <c:pt idx="712">
                  <c:v>69.717158400000002</c:v>
                </c:pt>
                <c:pt idx="713">
                  <c:v>69.280714099999997</c:v>
                </c:pt>
                <c:pt idx="714">
                  <c:v>69.271238299999993</c:v>
                </c:pt>
                <c:pt idx="715">
                  <c:v>69.22720369999999</c:v>
                </c:pt>
                <c:pt idx="716">
                  <c:v>263.1622964</c:v>
                </c:pt>
                <c:pt idx="717">
                  <c:v>69.077263099999996</c:v>
                </c:pt>
                <c:pt idx="718">
                  <c:v>69.077263099999996</c:v>
                </c:pt>
                <c:pt idx="719">
                  <c:v>75.469985699999995</c:v>
                </c:pt>
                <c:pt idx="720">
                  <c:v>69.446819300000001</c:v>
                </c:pt>
                <c:pt idx="721">
                  <c:v>69.319174699999991</c:v>
                </c:pt>
                <c:pt idx="722">
                  <c:v>69.1424789</c:v>
                </c:pt>
                <c:pt idx="723">
                  <c:v>226.32352449999999</c:v>
                </c:pt>
                <c:pt idx="724">
                  <c:v>99.8950593</c:v>
                </c:pt>
                <c:pt idx="725">
                  <c:v>158.40564139999998</c:v>
                </c:pt>
                <c:pt idx="726">
                  <c:v>74.666370000000001</c:v>
                </c:pt>
                <c:pt idx="727">
                  <c:v>69.60547729999999</c:v>
                </c:pt>
                <c:pt idx="728">
                  <c:v>69.428425099999998</c:v>
                </c:pt>
                <c:pt idx="729">
                  <c:v>69.394981099999995</c:v>
                </c:pt>
                <c:pt idx="730">
                  <c:v>216.10992659999999</c:v>
                </c:pt>
                <c:pt idx="731">
                  <c:v>105.1843239</c:v>
                </c:pt>
                <c:pt idx="732">
                  <c:v>160.09400629999999</c:v>
                </c:pt>
                <c:pt idx="733">
                  <c:v>74.686937399999991</c:v>
                </c:pt>
                <c:pt idx="734">
                  <c:v>69.541577399999994</c:v>
                </c:pt>
                <c:pt idx="735">
                  <c:v>69.5376756</c:v>
                </c:pt>
                <c:pt idx="736">
                  <c:v>69.419506699999999</c:v>
                </c:pt>
                <c:pt idx="737">
                  <c:v>267.4888358</c:v>
                </c:pt>
                <c:pt idx="738">
                  <c:v>95.057757500000008</c:v>
                </c:pt>
                <c:pt idx="739">
                  <c:v>166.77297849999999</c:v>
                </c:pt>
                <c:pt idx="740">
                  <c:v>75.2652717</c:v>
                </c:pt>
                <c:pt idx="741">
                  <c:v>64.209458099999992</c:v>
                </c:pt>
                <c:pt idx="742">
                  <c:v>69.425080699999995</c:v>
                </c:pt>
                <c:pt idx="743">
                  <c:v>69.378816499999999</c:v>
                </c:pt>
                <c:pt idx="744">
                  <c:v>215.51295110000001</c:v>
                </c:pt>
                <c:pt idx="745">
                  <c:v>114.53658350000001</c:v>
                </c:pt>
                <c:pt idx="746">
                  <c:v>169.86801650000001</c:v>
                </c:pt>
                <c:pt idx="747">
                  <c:v>75.269420499999995</c:v>
                </c:pt>
                <c:pt idx="748">
                  <c:v>69.563873399999991</c:v>
                </c:pt>
                <c:pt idx="749">
                  <c:v>69.461869199999995</c:v>
                </c:pt>
                <c:pt idx="750">
                  <c:v>69.427310300000002</c:v>
                </c:pt>
                <c:pt idx="751">
                  <c:v>200.17107149999998</c:v>
                </c:pt>
                <c:pt idx="752">
                  <c:v>113.46581789999999</c:v>
                </c:pt>
                <c:pt idx="753">
                  <c:v>169.29445190000001</c:v>
                </c:pt>
                <c:pt idx="754">
                  <c:v>75.123381699999996</c:v>
                </c:pt>
                <c:pt idx="755">
                  <c:v>69.67368119999999</c:v>
                </c:pt>
                <c:pt idx="756">
                  <c:v>69.495870599999989</c:v>
                </c:pt>
                <c:pt idx="757">
                  <c:v>64.046139799999992</c:v>
                </c:pt>
                <c:pt idx="758">
                  <c:v>237.1099744</c:v>
                </c:pt>
                <c:pt idx="759">
                  <c:v>110.69275260000001</c:v>
                </c:pt>
                <c:pt idx="760">
                  <c:v>167.8268175</c:v>
                </c:pt>
                <c:pt idx="761">
                  <c:v>75.039214299999998</c:v>
                </c:pt>
                <c:pt idx="762">
                  <c:v>64.301429099999993</c:v>
                </c:pt>
                <c:pt idx="763">
                  <c:v>69.639122399999991</c:v>
                </c:pt>
                <c:pt idx="764">
                  <c:v>69.64804079999999</c:v>
                </c:pt>
                <c:pt idx="765">
                  <c:v>208.02146399999998</c:v>
                </c:pt>
                <c:pt idx="766">
                  <c:v>104.23468510000001</c:v>
                </c:pt>
                <c:pt idx="767">
                  <c:v>165.26500670000001</c:v>
                </c:pt>
                <c:pt idx="768">
                  <c:v>206.56500779999999</c:v>
                </c:pt>
                <c:pt idx="769">
                  <c:v>70.318593100000001</c:v>
                </c:pt>
                <c:pt idx="770">
                  <c:v>64.2178191</c:v>
                </c:pt>
                <c:pt idx="771">
                  <c:v>69.4406879</c:v>
                </c:pt>
                <c:pt idx="772">
                  <c:v>64.025515999999996</c:v>
                </c:pt>
                <c:pt idx="773">
                  <c:v>69.471344999999999</c:v>
                </c:pt>
                <c:pt idx="774">
                  <c:v>64.111355599999996</c:v>
                </c:pt>
                <c:pt idx="775">
                  <c:v>64.223950500000001</c:v>
                </c:pt>
                <c:pt idx="776">
                  <c:v>69.661418400000002</c:v>
                </c:pt>
                <c:pt idx="777">
                  <c:v>69.676468200000002</c:v>
                </c:pt>
                <c:pt idx="778">
                  <c:v>69.397210700000002</c:v>
                </c:pt>
                <c:pt idx="779">
                  <c:v>245.27755760000002</c:v>
                </c:pt>
                <c:pt idx="780">
                  <c:v>114.52320589999999</c:v>
                </c:pt>
                <c:pt idx="781">
                  <c:v>69.619056</c:v>
                </c:pt>
                <c:pt idx="782">
                  <c:v>169.03080159999999</c:v>
                </c:pt>
                <c:pt idx="783">
                  <c:v>64.32372509999999</c:v>
                </c:pt>
                <c:pt idx="784">
                  <c:v>64.295297699999992</c:v>
                </c:pt>
                <c:pt idx="785">
                  <c:v>64.109683399999994</c:v>
                </c:pt>
                <c:pt idx="786">
                  <c:v>264.90637099999998</c:v>
                </c:pt>
                <c:pt idx="787">
                  <c:v>97.788353299999997</c:v>
                </c:pt>
                <c:pt idx="788">
                  <c:v>172.83059789999999</c:v>
                </c:pt>
                <c:pt idx="789">
                  <c:v>70.1368504</c:v>
                </c:pt>
                <c:pt idx="790">
                  <c:v>69.760635600000001</c:v>
                </c:pt>
                <c:pt idx="791">
                  <c:v>64.300871700000002</c:v>
                </c:pt>
                <c:pt idx="792">
                  <c:v>69.482492999999991</c:v>
                </c:pt>
                <c:pt idx="793">
                  <c:v>122.9739182</c:v>
                </c:pt>
                <c:pt idx="794">
                  <c:v>69.514234599999995</c:v>
                </c:pt>
                <c:pt idx="795">
                  <c:v>107.36337169999999</c:v>
                </c:pt>
                <c:pt idx="796">
                  <c:v>66.699921599999996</c:v>
                </c:pt>
                <c:pt idx="797">
                  <c:v>69.655844399999992</c:v>
                </c:pt>
                <c:pt idx="798">
                  <c:v>64.239557699999992</c:v>
                </c:pt>
                <c:pt idx="799">
                  <c:v>64.095191</c:v>
                </c:pt>
                <c:pt idx="800">
                  <c:v>127.5897784</c:v>
                </c:pt>
                <c:pt idx="801">
                  <c:v>69.444589699999995</c:v>
                </c:pt>
                <c:pt idx="802">
                  <c:v>113.674843</c:v>
                </c:pt>
                <c:pt idx="803">
                  <c:v>72.494682900000001</c:v>
                </c:pt>
                <c:pt idx="804">
                  <c:v>64.3560542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80-4D44-B5FB-C7344E7BB008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rgbClr val="7030A0"/>
            </a:solidFill>
            <a:ln w="12700">
              <a:solidFill>
                <a:srgbClr val="7030A0"/>
              </a:solidFill>
            </a:ln>
            <a:effectLst/>
          </c:spPr>
          <c:invertIfNegative val="0"/>
          <c:cat>
            <c:numRef>
              <c:f>Sheet1!$A$2:$A$806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H$2:$H$806</c:f>
              <c:numCache>
                <c:formatCode>#,##0</c:formatCode>
                <c:ptCount val="8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6.3360595000000002</c:v>
                </c:pt>
                <c:pt idx="413">
                  <c:v>17.802267100000002</c:v>
                </c:pt>
                <c:pt idx="414">
                  <c:v>33.364847500000003</c:v>
                </c:pt>
                <c:pt idx="415">
                  <c:v>52.140320899999999</c:v>
                </c:pt>
                <c:pt idx="416">
                  <c:v>73.376259500000003</c:v>
                </c:pt>
                <c:pt idx="417">
                  <c:v>96.434345800000003</c:v>
                </c:pt>
                <c:pt idx="418">
                  <c:v>120.77546820000001</c:v>
                </c:pt>
                <c:pt idx="419">
                  <c:v>145.94662059999999</c:v>
                </c:pt>
                <c:pt idx="420">
                  <c:v>171.56939629999999</c:v>
                </c:pt>
                <c:pt idx="421">
                  <c:v>197.329892</c:v>
                </c:pt>
                <c:pt idx="422">
                  <c:v>222.96985849999999</c:v>
                </c:pt>
                <c:pt idx="423">
                  <c:v>248.2789506</c:v>
                </c:pt>
                <c:pt idx="424">
                  <c:v>273.0879486</c:v>
                </c:pt>
                <c:pt idx="425">
                  <c:v>297.26283599999999</c:v>
                </c:pt>
                <c:pt idx="426">
                  <c:v>320.6996317</c:v>
                </c:pt>
                <c:pt idx="427">
                  <c:v>320.6996317</c:v>
                </c:pt>
                <c:pt idx="428">
                  <c:v>320.6996317</c:v>
                </c:pt>
                <c:pt idx="429">
                  <c:v>320.6996317</c:v>
                </c:pt>
                <c:pt idx="430">
                  <c:v>320.6996317</c:v>
                </c:pt>
                <c:pt idx="431">
                  <c:v>320.6996317</c:v>
                </c:pt>
                <c:pt idx="432">
                  <c:v>320.6996317</c:v>
                </c:pt>
                <c:pt idx="433">
                  <c:v>320.6996317</c:v>
                </c:pt>
                <c:pt idx="434">
                  <c:v>320.6996317</c:v>
                </c:pt>
                <c:pt idx="435">
                  <c:v>320.6996317</c:v>
                </c:pt>
                <c:pt idx="436">
                  <c:v>320.6996317</c:v>
                </c:pt>
                <c:pt idx="437">
                  <c:v>320.6996317</c:v>
                </c:pt>
                <c:pt idx="438">
                  <c:v>320.6996317</c:v>
                </c:pt>
                <c:pt idx="439">
                  <c:v>320.6996317</c:v>
                </c:pt>
                <c:pt idx="440">
                  <c:v>320.6996317</c:v>
                </c:pt>
                <c:pt idx="441">
                  <c:v>320.6996317</c:v>
                </c:pt>
                <c:pt idx="442">
                  <c:v>320.6996317</c:v>
                </c:pt>
                <c:pt idx="443">
                  <c:v>320.6996317</c:v>
                </c:pt>
                <c:pt idx="444">
                  <c:v>320.6996317</c:v>
                </c:pt>
                <c:pt idx="445">
                  <c:v>320.6996317</c:v>
                </c:pt>
                <c:pt idx="446">
                  <c:v>320.6996317</c:v>
                </c:pt>
                <c:pt idx="447">
                  <c:v>320.6996317</c:v>
                </c:pt>
                <c:pt idx="448">
                  <c:v>320.6996317</c:v>
                </c:pt>
                <c:pt idx="449">
                  <c:v>320.6996317</c:v>
                </c:pt>
                <c:pt idx="450">
                  <c:v>320.6996317</c:v>
                </c:pt>
                <c:pt idx="451">
                  <c:v>320.6996317</c:v>
                </c:pt>
                <c:pt idx="452">
                  <c:v>320.6996317</c:v>
                </c:pt>
                <c:pt idx="453">
                  <c:v>320.6996317</c:v>
                </c:pt>
                <c:pt idx="454">
                  <c:v>320.6996317</c:v>
                </c:pt>
                <c:pt idx="455">
                  <c:v>320.6996317</c:v>
                </c:pt>
                <c:pt idx="456">
                  <c:v>320.6996317</c:v>
                </c:pt>
                <c:pt idx="457">
                  <c:v>320.6996317</c:v>
                </c:pt>
                <c:pt idx="458">
                  <c:v>320.6996317</c:v>
                </c:pt>
                <c:pt idx="459">
                  <c:v>320.6996317</c:v>
                </c:pt>
                <c:pt idx="460">
                  <c:v>320.6996317</c:v>
                </c:pt>
                <c:pt idx="461">
                  <c:v>320.6996317</c:v>
                </c:pt>
                <c:pt idx="462">
                  <c:v>320.6996317</c:v>
                </c:pt>
                <c:pt idx="463">
                  <c:v>320.6996317</c:v>
                </c:pt>
                <c:pt idx="464">
                  <c:v>320.6996317</c:v>
                </c:pt>
                <c:pt idx="465">
                  <c:v>320.6996317</c:v>
                </c:pt>
                <c:pt idx="466">
                  <c:v>320.6996317</c:v>
                </c:pt>
                <c:pt idx="467">
                  <c:v>320.6996317</c:v>
                </c:pt>
                <c:pt idx="468">
                  <c:v>320.6996317</c:v>
                </c:pt>
                <c:pt idx="469">
                  <c:v>320.6996317</c:v>
                </c:pt>
                <c:pt idx="470">
                  <c:v>320.6996317</c:v>
                </c:pt>
                <c:pt idx="471">
                  <c:v>320.6996317</c:v>
                </c:pt>
                <c:pt idx="472">
                  <c:v>320.6996317</c:v>
                </c:pt>
                <c:pt idx="473">
                  <c:v>320.6996317</c:v>
                </c:pt>
                <c:pt idx="474">
                  <c:v>320.6996317</c:v>
                </c:pt>
                <c:pt idx="475">
                  <c:v>320.6996317</c:v>
                </c:pt>
                <c:pt idx="476">
                  <c:v>320.6996317</c:v>
                </c:pt>
                <c:pt idx="477">
                  <c:v>320.6996317</c:v>
                </c:pt>
                <c:pt idx="478">
                  <c:v>320.6996317</c:v>
                </c:pt>
                <c:pt idx="479">
                  <c:v>320.6996317</c:v>
                </c:pt>
                <c:pt idx="480">
                  <c:v>320.6996317</c:v>
                </c:pt>
                <c:pt idx="481">
                  <c:v>320.6996317</c:v>
                </c:pt>
                <c:pt idx="482">
                  <c:v>320.6996317</c:v>
                </c:pt>
                <c:pt idx="483">
                  <c:v>320.6996317</c:v>
                </c:pt>
                <c:pt idx="484">
                  <c:v>320.6996317</c:v>
                </c:pt>
                <c:pt idx="485">
                  <c:v>320.6996317</c:v>
                </c:pt>
                <c:pt idx="486">
                  <c:v>320.6996317</c:v>
                </c:pt>
                <c:pt idx="487">
                  <c:v>320.6996317</c:v>
                </c:pt>
                <c:pt idx="488">
                  <c:v>320.6996317</c:v>
                </c:pt>
                <c:pt idx="489">
                  <c:v>320.6996317</c:v>
                </c:pt>
                <c:pt idx="490">
                  <c:v>320.6996317</c:v>
                </c:pt>
                <c:pt idx="491">
                  <c:v>320.6996317</c:v>
                </c:pt>
                <c:pt idx="492">
                  <c:v>320.6996317</c:v>
                </c:pt>
                <c:pt idx="493">
                  <c:v>320.6996317</c:v>
                </c:pt>
                <c:pt idx="494">
                  <c:v>320.6996317</c:v>
                </c:pt>
                <c:pt idx="495">
                  <c:v>320.6996317</c:v>
                </c:pt>
                <c:pt idx="496">
                  <c:v>320.6996317</c:v>
                </c:pt>
                <c:pt idx="497">
                  <c:v>314.3635721</c:v>
                </c:pt>
                <c:pt idx="498">
                  <c:v>302.8973646</c:v>
                </c:pt>
                <c:pt idx="499">
                  <c:v>287.3347842</c:v>
                </c:pt>
                <c:pt idx="500">
                  <c:v>268.55931079999999</c:v>
                </c:pt>
                <c:pt idx="501">
                  <c:v>247.3233721</c:v>
                </c:pt>
                <c:pt idx="502">
                  <c:v>224.26528590000001</c:v>
                </c:pt>
                <c:pt idx="503">
                  <c:v>199.9241634</c:v>
                </c:pt>
                <c:pt idx="504">
                  <c:v>174.75301099999999</c:v>
                </c:pt>
                <c:pt idx="505">
                  <c:v>149.1302354</c:v>
                </c:pt>
                <c:pt idx="506">
                  <c:v>123.3697396</c:v>
                </c:pt>
                <c:pt idx="507">
                  <c:v>97.729773100000003</c:v>
                </c:pt>
                <c:pt idx="508">
                  <c:v>72.420681099999996</c:v>
                </c:pt>
                <c:pt idx="509">
                  <c:v>47.6116831</c:v>
                </c:pt>
                <c:pt idx="510">
                  <c:v>23.436795700000001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0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0</c:v>
                </c:pt>
                <c:pt idx="601">
                  <c:v>0</c:v>
                </c:pt>
                <c:pt idx="602">
                  <c:v>0</c:v>
                </c:pt>
                <c:pt idx="603">
                  <c:v>0</c:v>
                </c:pt>
                <c:pt idx="604">
                  <c:v>0</c:v>
                </c:pt>
                <c:pt idx="605">
                  <c:v>0</c:v>
                </c:pt>
                <c:pt idx="606">
                  <c:v>0</c:v>
                </c:pt>
                <c:pt idx="607">
                  <c:v>0</c:v>
                </c:pt>
                <c:pt idx="608">
                  <c:v>0</c:v>
                </c:pt>
                <c:pt idx="609">
                  <c:v>0</c:v>
                </c:pt>
                <c:pt idx="610">
                  <c:v>0</c:v>
                </c:pt>
                <c:pt idx="611">
                  <c:v>0</c:v>
                </c:pt>
                <c:pt idx="612">
                  <c:v>0</c:v>
                </c:pt>
                <c:pt idx="613">
                  <c:v>0</c:v>
                </c:pt>
                <c:pt idx="614">
                  <c:v>0</c:v>
                </c:pt>
                <c:pt idx="615">
                  <c:v>0</c:v>
                </c:pt>
                <c:pt idx="616">
                  <c:v>0</c:v>
                </c:pt>
                <c:pt idx="617">
                  <c:v>0</c:v>
                </c:pt>
                <c:pt idx="618">
                  <c:v>0</c:v>
                </c:pt>
                <c:pt idx="619">
                  <c:v>0</c:v>
                </c:pt>
                <c:pt idx="620">
                  <c:v>0</c:v>
                </c:pt>
                <c:pt idx="621">
                  <c:v>0</c:v>
                </c:pt>
                <c:pt idx="622">
                  <c:v>0</c:v>
                </c:pt>
                <c:pt idx="623">
                  <c:v>0</c:v>
                </c:pt>
                <c:pt idx="624">
                  <c:v>0</c:v>
                </c:pt>
                <c:pt idx="625">
                  <c:v>0</c:v>
                </c:pt>
                <c:pt idx="626">
                  <c:v>0</c:v>
                </c:pt>
                <c:pt idx="627">
                  <c:v>0</c:v>
                </c:pt>
                <c:pt idx="628">
                  <c:v>0</c:v>
                </c:pt>
                <c:pt idx="629">
                  <c:v>0</c:v>
                </c:pt>
                <c:pt idx="630">
                  <c:v>0</c:v>
                </c:pt>
                <c:pt idx="631">
                  <c:v>0</c:v>
                </c:pt>
                <c:pt idx="632">
                  <c:v>0</c:v>
                </c:pt>
                <c:pt idx="633">
                  <c:v>0</c:v>
                </c:pt>
                <c:pt idx="634">
                  <c:v>0</c:v>
                </c:pt>
                <c:pt idx="635">
                  <c:v>0</c:v>
                </c:pt>
                <c:pt idx="636">
                  <c:v>0</c:v>
                </c:pt>
                <c:pt idx="637">
                  <c:v>0</c:v>
                </c:pt>
                <c:pt idx="638">
                  <c:v>0</c:v>
                </c:pt>
                <c:pt idx="639">
                  <c:v>0</c:v>
                </c:pt>
                <c:pt idx="640">
                  <c:v>0</c:v>
                </c:pt>
                <c:pt idx="641">
                  <c:v>0</c:v>
                </c:pt>
                <c:pt idx="642">
                  <c:v>0</c:v>
                </c:pt>
                <c:pt idx="643">
                  <c:v>0</c:v>
                </c:pt>
                <c:pt idx="644">
                  <c:v>0</c:v>
                </c:pt>
                <c:pt idx="645">
                  <c:v>0</c:v>
                </c:pt>
                <c:pt idx="646">
                  <c:v>0</c:v>
                </c:pt>
                <c:pt idx="647">
                  <c:v>0</c:v>
                </c:pt>
                <c:pt idx="648">
                  <c:v>0</c:v>
                </c:pt>
                <c:pt idx="649">
                  <c:v>0</c:v>
                </c:pt>
                <c:pt idx="650">
                  <c:v>0</c:v>
                </c:pt>
                <c:pt idx="651">
                  <c:v>0</c:v>
                </c:pt>
                <c:pt idx="652">
                  <c:v>0</c:v>
                </c:pt>
                <c:pt idx="653">
                  <c:v>0</c:v>
                </c:pt>
                <c:pt idx="654">
                  <c:v>0</c:v>
                </c:pt>
                <c:pt idx="655">
                  <c:v>0</c:v>
                </c:pt>
                <c:pt idx="656">
                  <c:v>0</c:v>
                </c:pt>
                <c:pt idx="657">
                  <c:v>0</c:v>
                </c:pt>
                <c:pt idx="658">
                  <c:v>0</c:v>
                </c:pt>
                <c:pt idx="659">
                  <c:v>0</c:v>
                </c:pt>
                <c:pt idx="660">
                  <c:v>0</c:v>
                </c:pt>
                <c:pt idx="661">
                  <c:v>0</c:v>
                </c:pt>
                <c:pt idx="662">
                  <c:v>0</c:v>
                </c:pt>
                <c:pt idx="663">
                  <c:v>0</c:v>
                </c:pt>
                <c:pt idx="664">
                  <c:v>0</c:v>
                </c:pt>
                <c:pt idx="665">
                  <c:v>0</c:v>
                </c:pt>
                <c:pt idx="666">
                  <c:v>0</c:v>
                </c:pt>
                <c:pt idx="667">
                  <c:v>0</c:v>
                </c:pt>
                <c:pt idx="668">
                  <c:v>0</c:v>
                </c:pt>
                <c:pt idx="669">
                  <c:v>0</c:v>
                </c:pt>
                <c:pt idx="670">
                  <c:v>0</c:v>
                </c:pt>
                <c:pt idx="671">
                  <c:v>0</c:v>
                </c:pt>
                <c:pt idx="672">
                  <c:v>0</c:v>
                </c:pt>
                <c:pt idx="673">
                  <c:v>0</c:v>
                </c:pt>
                <c:pt idx="674">
                  <c:v>0</c:v>
                </c:pt>
                <c:pt idx="675">
                  <c:v>0</c:v>
                </c:pt>
                <c:pt idx="676">
                  <c:v>0</c:v>
                </c:pt>
                <c:pt idx="677">
                  <c:v>0</c:v>
                </c:pt>
                <c:pt idx="678">
                  <c:v>0</c:v>
                </c:pt>
                <c:pt idx="679">
                  <c:v>0</c:v>
                </c:pt>
                <c:pt idx="680">
                  <c:v>0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7.1862671999999996</c:v>
                </c:pt>
                <c:pt idx="693">
                  <c:v>21.055328500000002</c:v>
                </c:pt>
                <c:pt idx="694">
                  <c:v>40.195857500000002</c:v>
                </c:pt>
                <c:pt idx="695">
                  <c:v>63.798223499999999</c:v>
                </c:pt>
                <c:pt idx="696">
                  <c:v>91.453954699999997</c:v>
                </c:pt>
                <c:pt idx="697">
                  <c:v>116.17521410000001</c:v>
                </c:pt>
                <c:pt idx="698">
                  <c:v>138.24113070000001</c:v>
                </c:pt>
                <c:pt idx="699">
                  <c:v>158.02864500000001</c:v>
                </c:pt>
                <c:pt idx="700">
                  <c:v>181.01611220000001</c:v>
                </c:pt>
                <c:pt idx="701">
                  <c:v>206.30985000000001</c:v>
                </c:pt>
                <c:pt idx="702">
                  <c:v>233.32860640000001</c:v>
                </c:pt>
                <c:pt idx="703">
                  <c:v>261.09131389999999</c:v>
                </c:pt>
                <c:pt idx="704">
                  <c:v>290.16999570000002</c:v>
                </c:pt>
                <c:pt idx="705">
                  <c:v>320.17518719999998</c:v>
                </c:pt>
                <c:pt idx="706">
                  <c:v>378.50926939999999</c:v>
                </c:pt>
                <c:pt idx="707">
                  <c:v>423.1138105</c:v>
                </c:pt>
                <c:pt idx="708">
                  <c:v>474.86478679999999</c:v>
                </c:pt>
                <c:pt idx="709">
                  <c:v>531.63033440000004</c:v>
                </c:pt>
                <c:pt idx="710">
                  <c:v>592.89956989999996</c:v>
                </c:pt>
                <c:pt idx="711">
                  <c:v>659.06531219999999</c:v>
                </c:pt>
                <c:pt idx="712">
                  <c:v>751.95778789999997</c:v>
                </c:pt>
                <c:pt idx="713">
                  <c:v>854.25523350000003</c:v>
                </c:pt>
                <c:pt idx="714">
                  <c:v>942.86042020000002</c:v>
                </c:pt>
                <c:pt idx="715">
                  <c:v>1000.6492327</c:v>
                </c:pt>
                <c:pt idx="716">
                  <c:v>1059.9255728000001</c:v>
                </c:pt>
                <c:pt idx="717">
                  <c:v>1116.593742</c:v>
                </c:pt>
                <c:pt idx="718">
                  <c:v>1175.0759774000001</c:v>
                </c:pt>
                <c:pt idx="719">
                  <c:v>1229.380056</c:v>
                </c:pt>
                <c:pt idx="720">
                  <c:v>1278.9685925000001</c:v>
                </c:pt>
                <c:pt idx="721">
                  <c:v>1219.1453121</c:v>
                </c:pt>
                <c:pt idx="722">
                  <c:v>1203.4377489999999</c:v>
                </c:pt>
                <c:pt idx="723">
                  <c:v>1191.0560031</c:v>
                </c:pt>
                <c:pt idx="724">
                  <c:v>1193.4457142000001</c:v>
                </c:pt>
                <c:pt idx="725">
                  <c:v>1197.5782681999999</c:v>
                </c:pt>
                <c:pt idx="726">
                  <c:v>1199.2099052999999</c:v>
                </c:pt>
                <c:pt idx="727">
                  <c:v>1200.9861903999999</c:v>
                </c:pt>
                <c:pt idx="728">
                  <c:v>1179.4791734</c:v>
                </c:pt>
                <c:pt idx="729">
                  <c:v>1230.2123269000001</c:v>
                </c:pt>
                <c:pt idx="730">
                  <c:v>1281.4728186</c:v>
                </c:pt>
                <c:pt idx="731">
                  <c:v>1292.6454289999999</c:v>
                </c:pt>
                <c:pt idx="732">
                  <c:v>1317.4582213000001</c:v>
                </c:pt>
                <c:pt idx="733">
                  <c:v>1334.5717407</c:v>
                </c:pt>
                <c:pt idx="734">
                  <c:v>1324.4629175</c:v>
                </c:pt>
                <c:pt idx="735">
                  <c:v>1302.6504015999999</c:v>
                </c:pt>
                <c:pt idx="736">
                  <c:v>1283.0307906999999</c:v>
                </c:pt>
                <c:pt idx="737">
                  <c:v>1209.611562</c:v>
                </c:pt>
                <c:pt idx="738">
                  <c:v>1124.5792954999999</c:v>
                </c:pt>
                <c:pt idx="739">
                  <c:v>1030.8308549999999</c:v>
                </c:pt>
                <c:pt idx="740">
                  <c:v>903.46926710000002</c:v>
                </c:pt>
                <c:pt idx="741">
                  <c:v>773.29765759999998</c:v>
                </c:pt>
                <c:pt idx="742">
                  <c:v>665.75169110000002</c:v>
                </c:pt>
                <c:pt idx="743">
                  <c:v>558.97603059999994</c:v>
                </c:pt>
                <c:pt idx="744">
                  <c:v>452.09815420000001</c:v>
                </c:pt>
                <c:pt idx="745">
                  <c:v>342.00978320000002</c:v>
                </c:pt>
                <c:pt idx="746">
                  <c:v>232.98271320000001</c:v>
                </c:pt>
                <c:pt idx="747">
                  <c:v>113.9838754</c:v>
                </c:pt>
                <c:pt idx="748">
                  <c:v>0.55253490000000005</c:v>
                </c:pt>
                <c:pt idx="749">
                  <c:v>0.41015689999999999</c:v>
                </c:pt>
                <c:pt idx="750">
                  <c:v>0.27683869999999999</c:v>
                </c:pt>
                <c:pt idx="751">
                  <c:v>0.12773950000000001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</c:v>
                </c:pt>
                <c:pt idx="782">
                  <c:v>0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  <c:pt idx="787">
                  <c:v>0</c:v>
                </c:pt>
                <c:pt idx="788">
                  <c:v>0</c:v>
                </c:pt>
                <c:pt idx="789">
                  <c:v>0</c:v>
                </c:pt>
                <c:pt idx="790">
                  <c:v>0</c:v>
                </c:pt>
                <c:pt idx="791">
                  <c:v>0</c:v>
                </c:pt>
                <c:pt idx="792">
                  <c:v>0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0</c:v>
                </c:pt>
                <c:pt idx="801">
                  <c:v>0</c:v>
                </c:pt>
                <c:pt idx="802">
                  <c:v>0</c:v>
                </c:pt>
                <c:pt idx="803">
                  <c:v>0</c:v>
                </c:pt>
                <c:pt idx="8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F80-4D44-B5FB-C7344E7BB008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Apple search</c:v>
                </c:pt>
              </c:strCache>
            </c:strRef>
          </c:tx>
          <c:spPr>
            <a:solidFill>
              <a:schemeClr val="tx1"/>
            </a:solidFill>
            <a:ln w="12700">
              <a:solidFill>
                <a:schemeClr val="tx1"/>
              </a:solidFill>
            </a:ln>
            <a:effectLst/>
          </c:spPr>
          <c:invertIfNegative val="0"/>
          <c:cat>
            <c:numRef>
              <c:f>Sheet1!$A$2:$A$806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I$2:$I$806</c:f>
              <c:numCache>
                <c:formatCode>#,##0</c:formatCode>
                <c:ptCount val="805"/>
                <c:pt idx="0">
                  <c:v>0</c:v>
                </c:pt>
                <c:pt idx="1">
                  <c:v>3.8329819000000001</c:v>
                </c:pt>
                <c:pt idx="2">
                  <c:v>9.2453576999999996</c:v>
                </c:pt>
                <c:pt idx="3">
                  <c:v>16.175186799999999</c:v>
                </c:pt>
                <c:pt idx="4">
                  <c:v>24.781705800000001</c:v>
                </c:pt>
                <c:pt idx="5">
                  <c:v>33.205877399999999</c:v>
                </c:pt>
                <c:pt idx="6">
                  <c:v>39.947543699999997</c:v>
                </c:pt>
                <c:pt idx="7">
                  <c:v>45.257225800000001</c:v>
                </c:pt>
                <c:pt idx="8">
                  <c:v>49.359287199999997</c:v>
                </c:pt>
                <c:pt idx="9">
                  <c:v>52.605968799999999</c:v>
                </c:pt>
                <c:pt idx="10">
                  <c:v>55.353071700000001</c:v>
                </c:pt>
                <c:pt idx="11">
                  <c:v>58.279462799999997</c:v>
                </c:pt>
                <c:pt idx="12">
                  <c:v>60.900634199999999</c:v>
                </c:pt>
                <c:pt idx="13">
                  <c:v>62.667750699999999</c:v>
                </c:pt>
                <c:pt idx="14">
                  <c:v>62.571325000000002</c:v>
                </c:pt>
                <c:pt idx="15">
                  <c:v>57.219788800000003</c:v>
                </c:pt>
                <c:pt idx="16">
                  <c:v>51.985703000000001</c:v>
                </c:pt>
                <c:pt idx="17">
                  <c:v>45.908345400000002</c:v>
                </c:pt>
                <c:pt idx="18">
                  <c:v>39.132476599999997</c:v>
                </c:pt>
                <c:pt idx="19">
                  <c:v>33.551306799999999</c:v>
                </c:pt>
                <c:pt idx="20">
                  <c:v>29.4483286</c:v>
                </c:pt>
                <c:pt idx="21">
                  <c:v>25.708548799999999</c:v>
                </c:pt>
                <c:pt idx="22">
                  <c:v>22.313509799999999</c:v>
                </c:pt>
                <c:pt idx="23">
                  <c:v>19.1870318</c:v>
                </c:pt>
                <c:pt idx="24">
                  <c:v>16.175423299999999</c:v>
                </c:pt>
                <c:pt idx="25">
                  <c:v>13.209528300000001</c:v>
                </c:pt>
                <c:pt idx="26">
                  <c:v>11.3292267</c:v>
                </c:pt>
                <c:pt idx="27">
                  <c:v>10.6152333</c:v>
                </c:pt>
                <c:pt idx="28">
                  <c:v>10.864910500000001</c:v>
                </c:pt>
                <c:pt idx="29">
                  <c:v>11.412108099999999</c:v>
                </c:pt>
                <c:pt idx="30">
                  <c:v>11.685850200000001</c:v>
                </c:pt>
                <c:pt idx="31">
                  <c:v>11.8001083</c:v>
                </c:pt>
                <c:pt idx="32">
                  <c:v>11.723348100000001</c:v>
                </c:pt>
                <c:pt idx="33">
                  <c:v>11.6161855</c:v>
                </c:pt>
                <c:pt idx="34">
                  <c:v>12.139460100000001</c:v>
                </c:pt>
                <c:pt idx="35">
                  <c:v>13.2576904</c:v>
                </c:pt>
                <c:pt idx="36">
                  <c:v>14.6863723</c:v>
                </c:pt>
                <c:pt idx="37">
                  <c:v>16.391614799999999</c:v>
                </c:pt>
                <c:pt idx="38">
                  <c:v>18.004087200000001</c:v>
                </c:pt>
                <c:pt idx="39">
                  <c:v>19.1494994</c:v>
                </c:pt>
                <c:pt idx="40">
                  <c:v>19.672184600000001</c:v>
                </c:pt>
                <c:pt idx="41">
                  <c:v>20.0628022</c:v>
                </c:pt>
                <c:pt idx="42">
                  <c:v>21.119763500000001</c:v>
                </c:pt>
                <c:pt idx="43">
                  <c:v>22.067377199999999</c:v>
                </c:pt>
                <c:pt idx="44">
                  <c:v>23.0132139</c:v>
                </c:pt>
                <c:pt idx="45">
                  <c:v>23.609648199999999</c:v>
                </c:pt>
                <c:pt idx="46">
                  <c:v>23.935173299999999</c:v>
                </c:pt>
                <c:pt idx="47">
                  <c:v>23.916763599999999</c:v>
                </c:pt>
                <c:pt idx="48">
                  <c:v>23.247215300000001</c:v>
                </c:pt>
                <c:pt idx="49">
                  <c:v>22.502700600000001</c:v>
                </c:pt>
                <c:pt idx="50">
                  <c:v>21.996509499999998</c:v>
                </c:pt>
                <c:pt idx="51">
                  <c:v>21.377770600000002</c:v>
                </c:pt>
                <c:pt idx="52">
                  <c:v>21.109060199999998</c:v>
                </c:pt>
                <c:pt idx="53">
                  <c:v>20.8158402</c:v>
                </c:pt>
                <c:pt idx="54">
                  <c:v>20.411062999999999</c:v>
                </c:pt>
                <c:pt idx="55">
                  <c:v>19.964866300000001</c:v>
                </c:pt>
                <c:pt idx="56">
                  <c:v>19.491056</c:v>
                </c:pt>
                <c:pt idx="57">
                  <c:v>19.290935000000001</c:v>
                </c:pt>
                <c:pt idx="58">
                  <c:v>19.1579953</c:v>
                </c:pt>
                <c:pt idx="59">
                  <c:v>19.0537861</c:v>
                </c:pt>
                <c:pt idx="60">
                  <c:v>18.9386054</c:v>
                </c:pt>
                <c:pt idx="61">
                  <c:v>18.6246036</c:v>
                </c:pt>
                <c:pt idx="62">
                  <c:v>18.132315500000001</c:v>
                </c:pt>
                <c:pt idx="63">
                  <c:v>18.017804999999999</c:v>
                </c:pt>
                <c:pt idx="64">
                  <c:v>18.083368499999999</c:v>
                </c:pt>
                <c:pt idx="65">
                  <c:v>18.256876599999998</c:v>
                </c:pt>
                <c:pt idx="66">
                  <c:v>18.296005600000001</c:v>
                </c:pt>
                <c:pt idx="67">
                  <c:v>18.338498300000001</c:v>
                </c:pt>
                <c:pt idx="68">
                  <c:v>18.297764799999999</c:v>
                </c:pt>
                <c:pt idx="69">
                  <c:v>18.072975199999998</c:v>
                </c:pt>
                <c:pt idx="70">
                  <c:v>18.164427</c:v>
                </c:pt>
                <c:pt idx="71">
                  <c:v>18.359863300000001</c:v>
                </c:pt>
                <c:pt idx="72">
                  <c:v>18.587946899999999</c:v>
                </c:pt>
                <c:pt idx="73">
                  <c:v>18.977282200000001</c:v>
                </c:pt>
                <c:pt idx="74">
                  <c:v>19.284343100000001</c:v>
                </c:pt>
                <c:pt idx="75">
                  <c:v>19.590931900000001</c:v>
                </c:pt>
                <c:pt idx="76">
                  <c:v>19.414162099999999</c:v>
                </c:pt>
                <c:pt idx="77">
                  <c:v>18.9268252</c:v>
                </c:pt>
                <c:pt idx="78">
                  <c:v>18.828261399999999</c:v>
                </c:pt>
                <c:pt idx="79">
                  <c:v>18.872969099999999</c:v>
                </c:pt>
                <c:pt idx="80">
                  <c:v>19.836409400000001</c:v>
                </c:pt>
                <c:pt idx="81">
                  <c:v>20.921470800000002</c:v>
                </c:pt>
                <c:pt idx="82">
                  <c:v>22.099116599999999</c:v>
                </c:pt>
                <c:pt idx="83">
                  <c:v>23.360683600000002</c:v>
                </c:pt>
                <c:pt idx="84">
                  <c:v>24.713213700000001</c:v>
                </c:pt>
                <c:pt idx="85">
                  <c:v>26.143090000000001</c:v>
                </c:pt>
                <c:pt idx="86">
                  <c:v>27.707896399999999</c:v>
                </c:pt>
                <c:pt idx="87">
                  <c:v>28.9793536</c:v>
                </c:pt>
                <c:pt idx="88">
                  <c:v>30.593484700000001</c:v>
                </c:pt>
                <c:pt idx="89">
                  <c:v>31.469481300000002</c:v>
                </c:pt>
                <c:pt idx="90">
                  <c:v>32.593846599999999</c:v>
                </c:pt>
                <c:pt idx="91">
                  <c:v>33.733920500000004</c:v>
                </c:pt>
                <c:pt idx="92">
                  <c:v>34.3132813</c:v>
                </c:pt>
                <c:pt idx="93">
                  <c:v>34.948464800000004</c:v>
                </c:pt>
                <c:pt idx="94">
                  <c:v>35.032736700000001</c:v>
                </c:pt>
                <c:pt idx="95">
                  <c:v>35.0735581</c:v>
                </c:pt>
                <c:pt idx="96">
                  <c:v>34.751388200000001</c:v>
                </c:pt>
                <c:pt idx="97">
                  <c:v>33.6599608</c:v>
                </c:pt>
                <c:pt idx="98">
                  <c:v>32.991334100000003</c:v>
                </c:pt>
                <c:pt idx="99">
                  <c:v>32.6680627</c:v>
                </c:pt>
                <c:pt idx="100">
                  <c:v>32.364249999999998</c:v>
                </c:pt>
                <c:pt idx="101">
                  <c:v>32.410082199999998</c:v>
                </c:pt>
                <c:pt idx="102">
                  <c:v>31.997250300000001</c:v>
                </c:pt>
                <c:pt idx="103">
                  <c:v>31.8088354</c:v>
                </c:pt>
                <c:pt idx="104">
                  <c:v>31.3826936</c:v>
                </c:pt>
                <c:pt idx="105">
                  <c:v>31.171585199999999</c:v>
                </c:pt>
                <c:pt idx="106">
                  <c:v>31.331686099999999</c:v>
                </c:pt>
                <c:pt idx="107">
                  <c:v>31.3594218</c:v>
                </c:pt>
                <c:pt idx="108">
                  <c:v>31.763583799999999</c:v>
                </c:pt>
                <c:pt idx="109">
                  <c:v>32.344927800000001</c:v>
                </c:pt>
                <c:pt idx="110">
                  <c:v>32.5338311</c:v>
                </c:pt>
                <c:pt idx="111">
                  <c:v>32.534829999999999</c:v>
                </c:pt>
                <c:pt idx="112">
                  <c:v>32.325854100000001</c:v>
                </c:pt>
                <c:pt idx="113">
                  <c:v>32.113020800000001</c:v>
                </c:pt>
                <c:pt idx="114">
                  <c:v>32.021366800000003</c:v>
                </c:pt>
                <c:pt idx="115">
                  <c:v>31.772524400000002</c:v>
                </c:pt>
                <c:pt idx="116">
                  <c:v>31.4616726</c:v>
                </c:pt>
                <c:pt idx="117">
                  <c:v>31.0390011</c:v>
                </c:pt>
                <c:pt idx="118">
                  <c:v>30.116797699999999</c:v>
                </c:pt>
                <c:pt idx="119">
                  <c:v>29.464439200000001</c:v>
                </c:pt>
                <c:pt idx="120">
                  <c:v>29.047034499999999</c:v>
                </c:pt>
                <c:pt idx="121">
                  <c:v>28.616313900000002</c:v>
                </c:pt>
                <c:pt idx="122">
                  <c:v>27.5043097</c:v>
                </c:pt>
                <c:pt idx="123">
                  <c:v>26.594218099999999</c:v>
                </c:pt>
                <c:pt idx="124">
                  <c:v>25.742278899999999</c:v>
                </c:pt>
                <c:pt idx="125">
                  <c:v>24.397289199999999</c:v>
                </c:pt>
                <c:pt idx="126">
                  <c:v>23.270547400000002</c:v>
                </c:pt>
                <c:pt idx="127">
                  <c:v>22.2470213</c:v>
                </c:pt>
                <c:pt idx="128">
                  <c:v>21.472820299999999</c:v>
                </c:pt>
                <c:pt idx="129">
                  <c:v>20.778305899999999</c:v>
                </c:pt>
                <c:pt idx="130">
                  <c:v>20.237534400000001</c:v>
                </c:pt>
                <c:pt idx="131">
                  <c:v>19.730392999999999</c:v>
                </c:pt>
                <c:pt idx="132">
                  <c:v>18.897899500000001</c:v>
                </c:pt>
                <c:pt idx="133">
                  <c:v>18.430475399999999</c:v>
                </c:pt>
                <c:pt idx="134">
                  <c:v>18.1756514</c:v>
                </c:pt>
                <c:pt idx="135">
                  <c:v>18.196627500000002</c:v>
                </c:pt>
                <c:pt idx="136">
                  <c:v>18.4606028</c:v>
                </c:pt>
                <c:pt idx="137">
                  <c:v>18.7086279</c:v>
                </c:pt>
                <c:pt idx="138">
                  <c:v>18.801485400000001</c:v>
                </c:pt>
                <c:pt idx="139">
                  <c:v>18.729187</c:v>
                </c:pt>
                <c:pt idx="140">
                  <c:v>18.6786025</c:v>
                </c:pt>
                <c:pt idx="141">
                  <c:v>18.869059700000001</c:v>
                </c:pt>
                <c:pt idx="142">
                  <c:v>18.945723399999999</c:v>
                </c:pt>
                <c:pt idx="143">
                  <c:v>18.968027200000002</c:v>
                </c:pt>
                <c:pt idx="144">
                  <c:v>18.984032299999999</c:v>
                </c:pt>
                <c:pt idx="145">
                  <c:v>18.729442200000001</c:v>
                </c:pt>
                <c:pt idx="146">
                  <c:v>18.379723800000001</c:v>
                </c:pt>
                <c:pt idx="147">
                  <c:v>18.1052678</c:v>
                </c:pt>
                <c:pt idx="148">
                  <c:v>17.977945500000001</c:v>
                </c:pt>
                <c:pt idx="149">
                  <c:v>18.1503668</c:v>
                </c:pt>
                <c:pt idx="150">
                  <c:v>18.368412299999999</c:v>
                </c:pt>
                <c:pt idx="151">
                  <c:v>18.937038999999999</c:v>
                </c:pt>
                <c:pt idx="152">
                  <c:v>19.417909099999999</c:v>
                </c:pt>
                <c:pt idx="153">
                  <c:v>19.878326000000001</c:v>
                </c:pt>
                <c:pt idx="154">
                  <c:v>20.330347100000001</c:v>
                </c:pt>
                <c:pt idx="155">
                  <c:v>20.618434100000002</c:v>
                </c:pt>
                <c:pt idx="156">
                  <c:v>21.045624700000001</c:v>
                </c:pt>
                <c:pt idx="157">
                  <c:v>21.405919399999998</c:v>
                </c:pt>
                <c:pt idx="158">
                  <c:v>21.7176592</c:v>
                </c:pt>
                <c:pt idx="159">
                  <c:v>21.784649900000002</c:v>
                </c:pt>
                <c:pt idx="160">
                  <c:v>21.480922799999998</c:v>
                </c:pt>
                <c:pt idx="161">
                  <c:v>21.334611599999999</c:v>
                </c:pt>
                <c:pt idx="162">
                  <c:v>21.3694351</c:v>
                </c:pt>
                <c:pt idx="163">
                  <c:v>21.333420499999999</c:v>
                </c:pt>
                <c:pt idx="164">
                  <c:v>21.377385100000001</c:v>
                </c:pt>
                <c:pt idx="165">
                  <c:v>21.129705900000001</c:v>
                </c:pt>
                <c:pt idx="166">
                  <c:v>20.907938600000001</c:v>
                </c:pt>
                <c:pt idx="167">
                  <c:v>21.0819385</c:v>
                </c:pt>
                <c:pt idx="168">
                  <c:v>21.892519499999999</c:v>
                </c:pt>
                <c:pt idx="169">
                  <c:v>22.2032375</c:v>
                </c:pt>
                <c:pt idx="170">
                  <c:v>22.049856500000001</c:v>
                </c:pt>
                <c:pt idx="171">
                  <c:v>21.633051300000002</c:v>
                </c:pt>
                <c:pt idx="172">
                  <c:v>21.1426418</c:v>
                </c:pt>
                <c:pt idx="173">
                  <c:v>20.550539199999999</c:v>
                </c:pt>
                <c:pt idx="174">
                  <c:v>19.693100600000001</c:v>
                </c:pt>
                <c:pt idx="175">
                  <c:v>19.111588000000001</c:v>
                </c:pt>
                <c:pt idx="176">
                  <c:v>18.435593799999999</c:v>
                </c:pt>
                <c:pt idx="177">
                  <c:v>17.761500900000001</c:v>
                </c:pt>
                <c:pt idx="178">
                  <c:v>17.209924300000001</c:v>
                </c:pt>
                <c:pt idx="179">
                  <c:v>16.743882599999999</c:v>
                </c:pt>
                <c:pt idx="180">
                  <c:v>16.274964099999998</c:v>
                </c:pt>
                <c:pt idx="181">
                  <c:v>14.938439300000001</c:v>
                </c:pt>
                <c:pt idx="182">
                  <c:v>13.9633649</c:v>
                </c:pt>
                <c:pt idx="183">
                  <c:v>14.1025312</c:v>
                </c:pt>
                <c:pt idx="184">
                  <c:v>14.525040000000001</c:v>
                </c:pt>
                <c:pt idx="185">
                  <c:v>14.9835507</c:v>
                </c:pt>
                <c:pt idx="186">
                  <c:v>15.587450199999999</c:v>
                </c:pt>
                <c:pt idx="187">
                  <c:v>16.041198300000001</c:v>
                </c:pt>
                <c:pt idx="188">
                  <c:v>16.272460299999999</c:v>
                </c:pt>
                <c:pt idx="189">
                  <c:v>16.581948499999999</c:v>
                </c:pt>
                <c:pt idx="190">
                  <c:v>17.173678200000001</c:v>
                </c:pt>
                <c:pt idx="191">
                  <c:v>17.570083</c:v>
                </c:pt>
                <c:pt idx="192">
                  <c:v>17.782679000000002</c:v>
                </c:pt>
                <c:pt idx="193">
                  <c:v>18.088774300000001</c:v>
                </c:pt>
                <c:pt idx="194">
                  <c:v>18.4301694</c:v>
                </c:pt>
                <c:pt idx="195">
                  <c:v>18.451059300000001</c:v>
                </c:pt>
                <c:pt idx="196">
                  <c:v>18.995065700000001</c:v>
                </c:pt>
                <c:pt idx="197">
                  <c:v>18.913681700000001</c:v>
                </c:pt>
                <c:pt idx="198">
                  <c:v>19.546481</c:v>
                </c:pt>
                <c:pt idx="199">
                  <c:v>20.587149199999999</c:v>
                </c:pt>
                <c:pt idx="200">
                  <c:v>21.103487699999999</c:v>
                </c:pt>
                <c:pt idx="201">
                  <c:v>21.532524599999999</c:v>
                </c:pt>
                <c:pt idx="202">
                  <c:v>21.148259899999999</c:v>
                </c:pt>
                <c:pt idx="203">
                  <c:v>19.9183308</c:v>
                </c:pt>
                <c:pt idx="204">
                  <c:v>18.287809500000002</c:v>
                </c:pt>
                <c:pt idx="205">
                  <c:v>16.613348599999998</c:v>
                </c:pt>
                <c:pt idx="206">
                  <c:v>15.6736194</c:v>
                </c:pt>
                <c:pt idx="207">
                  <c:v>15.147195699999999</c:v>
                </c:pt>
                <c:pt idx="208">
                  <c:v>14.800025</c:v>
                </c:pt>
                <c:pt idx="209">
                  <c:v>14.543421</c:v>
                </c:pt>
                <c:pt idx="210">
                  <c:v>14.353405800000001</c:v>
                </c:pt>
                <c:pt idx="211">
                  <c:v>14.547321500000001</c:v>
                </c:pt>
                <c:pt idx="212">
                  <c:v>14.0673172</c:v>
                </c:pt>
                <c:pt idx="213">
                  <c:v>14.0724494</c:v>
                </c:pt>
                <c:pt idx="214">
                  <c:v>14.6350126</c:v>
                </c:pt>
                <c:pt idx="215">
                  <c:v>14.9664155</c:v>
                </c:pt>
                <c:pt idx="216">
                  <c:v>15.346529800000001</c:v>
                </c:pt>
                <c:pt idx="217">
                  <c:v>16.105615100000001</c:v>
                </c:pt>
                <c:pt idx="218">
                  <c:v>16.868776700000002</c:v>
                </c:pt>
                <c:pt idx="219">
                  <c:v>17.479923700000001</c:v>
                </c:pt>
                <c:pt idx="220">
                  <c:v>17.224510200000001</c:v>
                </c:pt>
                <c:pt idx="221">
                  <c:v>16.8283658</c:v>
                </c:pt>
                <c:pt idx="222">
                  <c:v>16.646877700000001</c:v>
                </c:pt>
                <c:pt idx="223">
                  <c:v>16.377759099999999</c:v>
                </c:pt>
                <c:pt idx="224">
                  <c:v>16.246560800000001</c:v>
                </c:pt>
                <c:pt idx="225">
                  <c:v>16.204416800000001</c:v>
                </c:pt>
                <c:pt idx="226">
                  <c:v>16.4143914</c:v>
                </c:pt>
                <c:pt idx="227">
                  <c:v>16.604498499999998</c:v>
                </c:pt>
                <c:pt idx="228">
                  <c:v>17.077613599999999</c:v>
                </c:pt>
                <c:pt idx="229">
                  <c:v>17.599269199999998</c:v>
                </c:pt>
                <c:pt idx="230">
                  <c:v>18.028462300000001</c:v>
                </c:pt>
                <c:pt idx="231">
                  <c:v>18.3763805</c:v>
                </c:pt>
                <c:pt idx="232">
                  <c:v>18.547832100000001</c:v>
                </c:pt>
                <c:pt idx="233">
                  <c:v>18.948875000000001</c:v>
                </c:pt>
                <c:pt idx="234">
                  <c:v>19.2498641</c:v>
                </c:pt>
                <c:pt idx="235">
                  <c:v>19.3392093</c:v>
                </c:pt>
                <c:pt idx="236">
                  <c:v>19.137096199999998</c:v>
                </c:pt>
                <c:pt idx="237">
                  <c:v>18.6929719</c:v>
                </c:pt>
                <c:pt idx="238">
                  <c:v>18.5462451</c:v>
                </c:pt>
                <c:pt idx="239">
                  <c:v>18.499439599999999</c:v>
                </c:pt>
                <c:pt idx="240">
                  <c:v>18.702013000000001</c:v>
                </c:pt>
                <c:pt idx="241">
                  <c:v>18.625255500000002</c:v>
                </c:pt>
                <c:pt idx="242">
                  <c:v>18.600305200000001</c:v>
                </c:pt>
                <c:pt idx="243">
                  <c:v>18.846652200000001</c:v>
                </c:pt>
                <c:pt idx="244">
                  <c:v>19.015688600000001</c:v>
                </c:pt>
                <c:pt idx="245">
                  <c:v>18.937226200000001</c:v>
                </c:pt>
                <c:pt idx="246">
                  <c:v>18.777466799999999</c:v>
                </c:pt>
                <c:pt idx="247">
                  <c:v>18.330882899999999</c:v>
                </c:pt>
                <c:pt idx="248">
                  <c:v>17.675854399999999</c:v>
                </c:pt>
                <c:pt idx="249">
                  <c:v>16.795307300000001</c:v>
                </c:pt>
                <c:pt idx="250">
                  <c:v>16.018369700000001</c:v>
                </c:pt>
                <c:pt idx="251">
                  <c:v>14.6223434</c:v>
                </c:pt>
                <c:pt idx="252">
                  <c:v>13.0989915</c:v>
                </c:pt>
                <c:pt idx="253">
                  <c:v>11.4566553</c:v>
                </c:pt>
                <c:pt idx="254">
                  <c:v>11.3998905</c:v>
                </c:pt>
                <c:pt idx="255">
                  <c:v>11.965161200000001</c:v>
                </c:pt>
                <c:pt idx="256">
                  <c:v>12.6902145</c:v>
                </c:pt>
                <c:pt idx="257">
                  <c:v>13.2137254</c:v>
                </c:pt>
                <c:pt idx="258">
                  <c:v>13.5908704</c:v>
                </c:pt>
                <c:pt idx="259">
                  <c:v>14.608270299999999</c:v>
                </c:pt>
                <c:pt idx="260">
                  <c:v>15.6796638</c:v>
                </c:pt>
                <c:pt idx="261">
                  <c:v>16.693416899999999</c:v>
                </c:pt>
                <c:pt idx="262">
                  <c:v>17.963153200000001</c:v>
                </c:pt>
                <c:pt idx="263">
                  <c:v>19.356041600000001</c:v>
                </c:pt>
                <c:pt idx="264">
                  <c:v>20.072207899999999</c:v>
                </c:pt>
                <c:pt idx="265">
                  <c:v>20.6786262</c:v>
                </c:pt>
                <c:pt idx="266">
                  <c:v>21.077532099999999</c:v>
                </c:pt>
                <c:pt idx="267">
                  <c:v>21.335449700000002</c:v>
                </c:pt>
                <c:pt idx="268">
                  <c:v>20.007096900000001</c:v>
                </c:pt>
                <c:pt idx="269">
                  <c:v>19.3676809</c:v>
                </c:pt>
                <c:pt idx="270">
                  <c:v>19.086029799999999</c:v>
                </c:pt>
                <c:pt idx="271">
                  <c:v>18.8299314</c:v>
                </c:pt>
                <c:pt idx="272">
                  <c:v>18.3039299</c:v>
                </c:pt>
                <c:pt idx="273">
                  <c:v>17.8351066</c:v>
                </c:pt>
                <c:pt idx="274">
                  <c:v>17.6185419</c:v>
                </c:pt>
                <c:pt idx="275">
                  <c:v>17.2072948</c:v>
                </c:pt>
                <c:pt idx="276">
                  <c:v>16.475475599999999</c:v>
                </c:pt>
                <c:pt idx="277">
                  <c:v>15.590451699999999</c:v>
                </c:pt>
                <c:pt idx="278">
                  <c:v>14.965830800000001</c:v>
                </c:pt>
                <c:pt idx="279">
                  <c:v>14.1348729</c:v>
                </c:pt>
                <c:pt idx="280">
                  <c:v>13.4129947</c:v>
                </c:pt>
                <c:pt idx="281">
                  <c:v>12.779270199999999</c:v>
                </c:pt>
                <c:pt idx="282">
                  <c:v>12.3909292</c:v>
                </c:pt>
                <c:pt idx="283">
                  <c:v>12.1231484</c:v>
                </c:pt>
                <c:pt idx="284">
                  <c:v>11.6289803</c:v>
                </c:pt>
                <c:pt idx="285">
                  <c:v>12.0409183</c:v>
                </c:pt>
                <c:pt idx="286">
                  <c:v>12.393727999999999</c:v>
                </c:pt>
                <c:pt idx="287">
                  <c:v>12.704749100000001</c:v>
                </c:pt>
                <c:pt idx="288">
                  <c:v>13.1852433</c:v>
                </c:pt>
                <c:pt idx="289">
                  <c:v>13.5206052</c:v>
                </c:pt>
                <c:pt idx="290">
                  <c:v>13.604151</c:v>
                </c:pt>
                <c:pt idx="291">
                  <c:v>13.577506400000001</c:v>
                </c:pt>
                <c:pt idx="292">
                  <c:v>13.294427000000001</c:v>
                </c:pt>
                <c:pt idx="293">
                  <c:v>12.9827297</c:v>
                </c:pt>
                <c:pt idx="294">
                  <c:v>12.3314054</c:v>
                </c:pt>
                <c:pt idx="295">
                  <c:v>11.3965709</c:v>
                </c:pt>
                <c:pt idx="296">
                  <c:v>10.1312549</c:v>
                </c:pt>
                <c:pt idx="297">
                  <c:v>8.8844176000000008</c:v>
                </c:pt>
                <c:pt idx="298">
                  <c:v>7.7011120999999996</c:v>
                </c:pt>
                <c:pt idx="299">
                  <c:v>6.2149742000000003</c:v>
                </c:pt>
                <c:pt idx="300">
                  <c:v>4.8897624999999998</c:v>
                </c:pt>
                <c:pt idx="301">
                  <c:v>3.6209340000000001</c:v>
                </c:pt>
                <c:pt idx="302">
                  <c:v>2.4882521999999998</c:v>
                </c:pt>
                <c:pt idx="303">
                  <c:v>1.9261381</c:v>
                </c:pt>
                <c:pt idx="304">
                  <c:v>1.4146981000000001</c:v>
                </c:pt>
                <c:pt idx="305">
                  <c:v>0.90822320000000001</c:v>
                </c:pt>
                <c:pt idx="306">
                  <c:v>0.55594770000000004</c:v>
                </c:pt>
                <c:pt idx="307">
                  <c:v>0.13344900000000001</c:v>
                </c:pt>
                <c:pt idx="308">
                  <c:v>5.2680000000000001E-4</c:v>
                </c:pt>
                <c:pt idx="309">
                  <c:v>4.6450000000000001E-4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.55797140000000001</c:v>
                </c:pt>
                <c:pt idx="414">
                  <c:v>2.1761282999999998</c:v>
                </c:pt>
                <c:pt idx="415">
                  <c:v>3.8634293</c:v>
                </c:pt>
                <c:pt idx="416">
                  <c:v>6.8246580999999997</c:v>
                </c:pt>
                <c:pt idx="417">
                  <c:v>10.259741699999999</c:v>
                </c:pt>
                <c:pt idx="418">
                  <c:v>13.0217545</c:v>
                </c:pt>
                <c:pt idx="419">
                  <c:v>15.0604646</c:v>
                </c:pt>
                <c:pt idx="420">
                  <c:v>16.932873300000001</c:v>
                </c:pt>
                <c:pt idx="421">
                  <c:v>18.854309099999998</c:v>
                </c:pt>
                <c:pt idx="422">
                  <c:v>20.852242799999999</c:v>
                </c:pt>
                <c:pt idx="423">
                  <c:v>22.7754963</c:v>
                </c:pt>
                <c:pt idx="424">
                  <c:v>24.450580899999999</c:v>
                </c:pt>
                <c:pt idx="425">
                  <c:v>25.966815</c:v>
                </c:pt>
                <c:pt idx="426">
                  <c:v>27.517502799999999</c:v>
                </c:pt>
                <c:pt idx="427">
                  <c:v>28.3660864</c:v>
                </c:pt>
                <c:pt idx="428">
                  <c:v>27.961669000000001</c:v>
                </c:pt>
                <c:pt idx="429">
                  <c:v>27.7150085</c:v>
                </c:pt>
                <c:pt idx="430">
                  <c:v>26.101422599999999</c:v>
                </c:pt>
                <c:pt idx="431">
                  <c:v>24.796466599999999</c:v>
                </c:pt>
                <c:pt idx="432">
                  <c:v>24.2783181</c:v>
                </c:pt>
                <c:pt idx="433">
                  <c:v>23.817529700000001</c:v>
                </c:pt>
                <c:pt idx="434">
                  <c:v>22.9764737</c:v>
                </c:pt>
                <c:pt idx="435">
                  <c:v>21.958271199999999</c:v>
                </c:pt>
                <c:pt idx="436">
                  <c:v>21.246304899999998</c:v>
                </c:pt>
                <c:pt idx="437">
                  <c:v>20.8522344</c:v>
                </c:pt>
                <c:pt idx="438">
                  <c:v>20.8344734</c:v>
                </c:pt>
                <c:pt idx="439">
                  <c:v>20.620485800000001</c:v>
                </c:pt>
                <c:pt idx="440">
                  <c:v>20.307947800000001</c:v>
                </c:pt>
                <c:pt idx="441">
                  <c:v>20.275171400000001</c:v>
                </c:pt>
                <c:pt idx="442">
                  <c:v>20.6774314</c:v>
                </c:pt>
                <c:pt idx="443">
                  <c:v>20.889963300000002</c:v>
                </c:pt>
                <c:pt idx="444">
                  <c:v>21.010317199999999</c:v>
                </c:pt>
                <c:pt idx="445">
                  <c:v>21.065508600000001</c:v>
                </c:pt>
                <c:pt idx="446">
                  <c:v>20.885603400000001</c:v>
                </c:pt>
                <c:pt idx="447">
                  <c:v>20.525942400000002</c:v>
                </c:pt>
                <c:pt idx="448">
                  <c:v>20.197999800000002</c:v>
                </c:pt>
                <c:pt idx="449">
                  <c:v>20.257178100000001</c:v>
                </c:pt>
                <c:pt idx="450">
                  <c:v>20.340540699999998</c:v>
                </c:pt>
                <c:pt idx="451">
                  <c:v>20.892358399999999</c:v>
                </c:pt>
                <c:pt idx="452">
                  <c:v>21.7748527</c:v>
                </c:pt>
                <c:pt idx="453">
                  <c:v>22.539726099999999</c:v>
                </c:pt>
                <c:pt idx="454">
                  <c:v>23.3028519</c:v>
                </c:pt>
                <c:pt idx="455">
                  <c:v>24.156394500000001</c:v>
                </c:pt>
                <c:pt idx="456">
                  <c:v>25.1444182</c:v>
                </c:pt>
                <c:pt idx="457">
                  <c:v>26.1447109</c:v>
                </c:pt>
                <c:pt idx="458">
                  <c:v>26.8548312</c:v>
                </c:pt>
                <c:pt idx="459">
                  <c:v>27.347733600000002</c:v>
                </c:pt>
                <c:pt idx="460">
                  <c:v>27.755950200000001</c:v>
                </c:pt>
                <c:pt idx="461">
                  <c:v>28.1866272</c:v>
                </c:pt>
                <c:pt idx="462">
                  <c:v>28.344287999999999</c:v>
                </c:pt>
                <c:pt idx="463">
                  <c:v>28.393316500000001</c:v>
                </c:pt>
                <c:pt idx="464">
                  <c:v>28.2925453</c:v>
                </c:pt>
                <c:pt idx="465">
                  <c:v>28.0787704</c:v>
                </c:pt>
                <c:pt idx="466">
                  <c:v>28.209963500000001</c:v>
                </c:pt>
                <c:pt idx="467">
                  <c:v>28.785914500000001</c:v>
                </c:pt>
                <c:pt idx="468">
                  <c:v>29.0685793</c:v>
                </c:pt>
                <c:pt idx="469">
                  <c:v>29.402628499999999</c:v>
                </c:pt>
                <c:pt idx="470">
                  <c:v>29.9154321</c:v>
                </c:pt>
                <c:pt idx="471">
                  <c:v>30.6803758</c:v>
                </c:pt>
                <c:pt idx="472">
                  <c:v>31.327723599999999</c:v>
                </c:pt>
                <c:pt idx="473">
                  <c:v>32.275640500000002</c:v>
                </c:pt>
                <c:pt idx="474">
                  <c:v>32.981530300000003</c:v>
                </c:pt>
                <c:pt idx="475">
                  <c:v>33.517623800000003</c:v>
                </c:pt>
                <c:pt idx="476">
                  <c:v>34.016176899999998</c:v>
                </c:pt>
                <c:pt idx="477">
                  <c:v>34.320886600000001</c:v>
                </c:pt>
                <c:pt idx="478">
                  <c:v>35.094959699999997</c:v>
                </c:pt>
                <c:pt idx="479">
                  <c:v>36.186874899999999</c:v>
                </c:pt>
                <c:pt idx="480">
                  <c:v>36.983634600000002</c:v>
                </c:pt>
                <c:pt idx="481">
                  <c:v>37.665206300000001</c:v>
                </c:pt>
                <c:pt idx="482">
                  <c:v>37.307134499999997</c:v>
                </c:pt>
                <c:pt idx="483">
                  <c:v>36.8579808</c:v>
                </c:pt>
                <c:pt idx="484">
                  <c:v>36.281088599999997</c:v>
                </c:pt>
                <c:pt idx="485">
                  <c:v>35.927306199999997</c:v>
                </c:pt>
                <c:pt idx="486">
                  <c:v>36.649562799999998</c:v>
                </c:pt>
                <c:pt idx="487">
                  <c:v>37.561774499999999</c:v>
                </c:pt>
                <c:pt idx="488">
                  <c:v>38.194630199999999</c:v>
                </c:pt>
                <c:pt idx="489">
                  <c:v>37.957281000000002</c:v>
                </c:pt>
                <c:pt idx="490">
                  <c:v>37.494890099999999</c:v>
                </c:pt>
                <c:pt idx="491">
                  <c:v>37.0669842</c:v>
                </c:pt>
                <c:pt idx="492">
                  <c:v>36.419316799999997</c:v>
                </c:pt>
                <c:pt idx="493">
                  <c:v>36.147665600000003</c:v>
                </c:pt>
                <c:pt idx="494">
                  <c:v>35.718434500000001</c:v>
                </c:pt>
                <c:pt idx="495">
                  <c:v>35.426547599999999</c:v>
                </c:pt>
                <c:pt idx="496">
                  <c:v>35.285695799999999</c:v>
                </c:pt>
                <c:pt idx="497">
                  <c:v>34.678109599999999</c:v>
                </c:pt>
                <c:pt idx="498">
                  <c:v>34.030442999999998</c:v>
                </c:pt>
                <c:pt idx="499">
                  <c:v>33.219323899999999</c:v>
                </c:pt>
                <c:pt idx="500">
                  <c:v>32.142881899999999</c:v>
                </c:pt>
                <c:pt idx="501">
                  <c:v>31.309522099999999</c:v>
                </c:pt>
                <c:pt idx="502">
                  <c:v>31.087985400000001</c:v>
                </c:pt>
                <c:pt idx="503">
                  <c:v>30.7889841</c:v>
                </c:pt>
                <c:pt idx="504">
                  <c:v>30.730211600000001</c:v>
                </c:pt>
                <c:pt idx="505">
                  <c:v>30.188088100000002</c:v>
                </c:pt>
                <c:pt idx="506">
                  <c:v>29.785513600000002</c:v>
                </c:pt>
                <c:pt idx="507">
                  <c:v>28.833572499999999</c:v>
                </c:pt>
                <c:pt idx="508">
                  <c:v>28.491920799999999</c:v>
                </c:pt>
                <c:pt idx="509">
                  <c:v>27.943607700000001</c:v>
                </c:pt>
                <c:pt idx="510">
                  <c:v>27.040027500000001</c:v>
                </c:pt>
                <c:pt idx="511">
                  <c:v>26.098390299999998</c:v>
                </c:pt>
                <c:pt idx="512">
                  <c:v>25.2275013</c:v>
                </c:pt>
                <c:pt idx="513">
                  <c:v>24.434730299999998</c:v>
                </c:pt>
                <c:pt idx="514">
                  <c:v>23.539939</c:v>
                </c:pt>
                <c:pt idx="515">
                  <c:v>23.351522599999999</c:v>
                </c:pt>
                <c:pt idx="516">
                  <c:v>23.608404700000001</c:v>
                </c:pt>
                <c:pt idx="517">
                  <c:v>23.826296299999999</c:v>
                </c:pt>
                <c:pt idx="518">
                  <c:v>23.848829500000001</c:v>
                </c:pt>
                <c:pt idx="519">
                  <c:v>24.139290500000001</c:v>
                </c:pt>
                <c:pt idx="520">
                  <c:v>24.147794099999999</c:v>
                </c:pt>
                <c:pt idx="521">
                  <c:v>24.171317899999998</c:v>
                </c:pt>
                <c:pt idx="522">
                  <c:v>24.200030000000002</c:v>
                </c:pt>
                <c:pt idx="523">
                  <c:v>24.268732199999999</c:v>
                </c:pt>
                <c:pt idx="524">
                  <c:v>24.383105700000002</c:v>
                </c:pt>
                <c:pt idx="525">
                  <c:v>24.272635099999999</c:v>
                </c:pt>
                <c:pt idx="526">
                  <c:v>24.053220400000001</c:v>
                </c:pt>
                <c:pt idx="527">
                  <c:v>23.8268679</c:v>
                </c:pt>
                <c:pt idx="528">
                  <c:v>23.856845</c:v>
                </c:pt>
                <c:pt idx="529">
                  <c:v>23.482840800000002</c:v>
                </c:pt>
                <c:pt idx="530">
                  <c:v>22.9517022</c:v>
                </c:pt>
                <c:pt idx="531">
                  <c:v>22.311070099999998</c:v>
                </c:pt>
                <c:pt idx="532">
                  <c:v>21.653904799999999</c:v>
                </c:pt>
                <c:pt idx="533">
                  <c:v>21.105529499999999</c:v>
                </c:pt>
                <c:pt idx="534">
                  <c:v>20.891721799999999</c:v>
                </c:pt>
                <c:pt idx="535">
                  <c:v>20.917341100000002</c:v>
                </c:pt>
                <c:pt idx="536">
                  <c:v>21.534656399999999</c:v>
                </c:pt>
                <c:pt idx="537">
                  <c:v>22.320893300000002</c:v>
                </c:pt>
                <c:pt idx="538">
                  <c:v>22.7819976</c:v>
                </c:pt>
                <c:pt idx="539">
                  <c:v>23.138421399999999</c:v>
                </c:pt>
                <c:pt idx="540">
                  <c:v>23.521713000000002</c:v>
                </c:pt>
                <c:pt idx="541">
                  <c:v>23.718894200000001</c:v>
                </c:pt>
                <c:pt idx="542">
                  <c:v>23.8375044</c:v>
                </c:pt>
                <c:pt idx="543">
                  <c:v>24.871546500000001</c:v>
                </c:pt>
                <c:pt idx="544">
                  <c:v>26.089524300000001</c:v>
                </c:pt>
                <c:pt idx="545">
                  <c:v>27.090603999999999</c:v>
                </c:pt>
                <c:pt idx="546">
                  <c:v>28.227167900000001</c:v>
                </c:pt>
                <c:pt idx="547">
                  <c:v>29.232571800000002</c:v>
                </c:pt>
                <c:pt idx="548">
                  <c:v>29.966678600000002</c:v>
                </c:pt>
                <c:pt idx="549">
                  <c:v>30.9690306</c:v>
                </c:pt>
                <c:pt idx="550">
                  <c:v>32.432926600000002</c:v>
                </c:pt>
                <c:pt idx="551">
                  <c:v>34.004471000000002</c:v>
                </c:pt>
                <c:pt idx="552">
                  <c:v>35.443324500000003</c:v>
                </c:pt>
                <c:pt idx="553">
                  <c:v>36.891530199999998</c:v>
                </c:pt>
                <c:pt idx="554">
                  <c:v>37.959603700000002</c:v>
                </c:pt>
                <c:pt idx="555">
                  <c:v>38.913497500000005</c:v>
                </c:pt>
                <c:pt idx="556">
                  <c:v>39.810771199999998</c:v>
                </c:pt>
                <c:pt idx="557">
                  <c:v>40.617223699999997</c:v>
                </c:pt>
                <c:pt idx="558">
                  <c:v>41.357369399999996</c:v>
                </c:pt>
                <c:pt idx="559">
                  <c:v>41.711609600000003</c:v>
                </c:pt>
                <c:pt idx="560">
                  <c:v>41.346900099999999</c:v>
                </c:pt>
                <c:pt idx="561">
                  <c:v>41.2839186</c:v>
                </c:pt>
                <c:pt idx="562">
                  <c:v>41.543433800000003</c:v>
                </c:pt>
                <c:pt idx="563">
                  <c:v>41.765811499999998</c:v>
                </c:pt>
                <c:pt idx="564">
                  <c:v>41.2831385</c:v>
                </c:pt>
                <c:pt idx="565">
                  <c:v>40.949668299999999</c:v>
                </c:pt>
                <c:pt idx="566">
                  <c:v>40.329768900000005</c:v>
                </c:pt>
                <c:pt idx="567">
                  <c:v>39.521618599999996</c:v>
                </c:pt>
                <c:pt idx="568">
                  <c:v>38.913508300000004</c:v>
                </c:pt>
                <c:pt idx="569">
                  <c:v>38.696912400000002</c:v>
                </c:pt>
                <c:pt idx="570">
                  <c:v>38.427091099999998</c:v>
                </c:pt>
                <c:pt idx="571">
                  <c:v>37.489370399999999</c:v>
                </c:pt>
                <c:pt idx="572">
                  <c:v>36.916563400000001</c:v>
                </c:pt>
                <c:pt idx="573">
                  <c:v>36.157880500000005</c:v>
                </c:pt>
                <c:pt idx="574">
                  <c:v>35.281727599999996</c:v>
                </c:pt>
                <c:pt idx="575">
                  <c:v>33.934371400000003</c:v>
                </c:pt>
                <c:pt idx="576">
                  <c:v>32.297703499999997</c:v>
                </c:pt>
                <c:pt idx="577">
                  <c:v>30.551130000000001</c:v>
                </c:pt>
                <c:pt idx="578">
                  <c:v>29.444323600000001</c:v>
                </c:pt>
                <c:pt idx="579">
                  <c:v>28.5217496</c:v>
                </c:pt>
                <c:pt idx="580">
                  <c:v>27.6642233</c:v>
                </c:pt>
                <c:pt idx="581">
                  <c:v>26.595983400000001</c:v>
                </c:pt>
                <c:pt idx="582">
                  <c:v>25.534123000000001</c:v>
                </c:pt>
                <c:pt idx="583">
                  <c:v>24.284101399999997</c:v>
                </c:pt>
                <c:pt idx="584">
                  <c:v>23.291657900000001</c:v>
                </c:pt>
                <c:pt idx="585">
                  <c:v>22.800849700000001</c:v>
                </c:pt>
                <c:pt idx="586">
                  <c:v>22.393621</c:v>
                </c:pt>
                <c:pt idx="587">
                  <c:v>21.739363399999998</c:v>
                </c:pt>
                <c:pt idx="588">
                  <c:v>21.204244200000002</c:v>
                </c:pt>
                <c:pt idx="589">
                  <c:v>20.6126255</c:v>
                </c:pt>
                <c:pt idx="590">
                  <c:v>19.960963899999999</c:v>
                </c:pt>
                <c:pt idx="591">
                  <c:v>19.383289300000001</c:v>
                </c:pt>
                <c:pt idx="592">
                  <c:v>18.881664499999999</c:v>
                </c:pt>
                <c:pt idx="593">
                  <c:v>18.585032600000002</c:v>
                </c:pt>
                <c:pt idx="594">
                  <c:v>18.213134099999998</c:v>
                </c:pt>
                <c:pt idx="595">
                  <c:v>17.823786999999999</c:v>
                </c:pt>
                <c:pt idx="596">
                  <c:v>17.4398573</c:v>
                </c:pt>
                <c:pt idx="597">
                  <c:v>17.0837185</c:v>
                </c:pt>
                <c:pt idx="598">
                  <c:v>16.865781800000001</c:v>
                </c:pt>
                <c:pt idx="599">
                  <c:v>16.9638071</c:v>
                </c:pt>
                <c:pt idx="600">
                  <c:v>17.123838000000003</c:v>
                </c:pt>
                <c:pt idx="601">
                  <c:v>17.340925599999998</c:v>
                </c:pt>
                <c:pt idx="602">
                  <c:v>17.478402299999999</c:v>
                </c:pt>
                <c:pt idx="603">
                  <c:v>17.587518499999998</c:v>
                </c:pt>
                <c:pt idx="604">
                  <c:v>17.730845200000001</c:v>
                </c:pt>
                <c:pt idx="605">
                  <c:v>18.132300499999999</c:v>
                </c:pt>
                <c:pt idx="606">
                  <c:v>18.952005800000002</c:v>
                </c:pt>
                <c:pt idx="607">
                  <c:v>19.8201261</c:v>
                </c:pt>
                <c:pt idx="608">
                  <c:v>20.921780200000001</c:v>
                </c:pt>
                <c:pt idx="609">
                  <c:v>21.910828899999998</c:v>
                </c:pt>
                <c:pt idx="610">
                  <c:v>22.874227099999999</c:v>
                </c:pt>
                <c:pt idx="611">
                  <c:v>23.7456107</c:v>
                </c:pt>
                <c:pt idx="612">
                  <c:v>24.589548199999999</c:v>
                </c:pt>
                <c:pt idx="613">
                  <c:v>25.4566363</c:v>
                </c:pt>
                <c:pt idx="614">
                  <c:v>26.335708500000003</c:v>
                </c:pt>
                <c:pt idx="615">
                  <c:v>27.1617812</c:v>
                </c:pt>
                <c:pt idx="616">
                  <c:v>27.837442500000002</c:v>
                </c:pt>
                <c:pt idx="617">
                  <c:v>28.523895599999996</c:v>
                </c:pt>
                <c:pt idx="618">
                  <c:v>28.962657100000001</c:v>
                </c:pt>
                <c:pt idx="619">
                  <c:v>29.158061</c:v>
                </c:pt>
                <c:pt idx="620">
                  <c:v>29.352938000000002</c:v>
                </c:pt>
                <c:pt idx="621">
                  <c:v>29.6906857</c:v>
                </c:pt>
                <c:pt idx="622">
                  <c:v>29.657891799999998</c:v>
                </c:pt>
                <c:pt idx="623">
                  <c:v>29.725518399999999</c:v>
                </c:pt>
                <c:pt idx="624">
                  <c:v>29.6329198</c:v>
                </c:pt>
                <c:pt idx="625">
                  <c:v>29.490038299999998</c:v>
                </c:pt>
                <c:pt idx="626">
                  <c:v>29.448126199999997</c:v>
                </c:pt>
                <c:pt idx="627">
                  <c:v>29.700700999999999</c:v>
                </c:pt>
                <c:pt idx="628">
                  <c:v>29.902061500000002</c:v>
                </c:pt>
                <c:pt idx="629">
                  <c:v>29.847118000000002</c:v>
                </c:pt>
                <c:pt idx="630">
                  <c:v>29.727590800000002</c:v>
                </c:pt>
                <c:pt idx="631">
                  <c:v>29.5203658</c:v>
                </c:pt>
                <c:pt idx="632">
                  <c:v>29.358915199999998</c:v>
                </c:pt>
                <c:pt idx="633">
                  <c:v>29.312754300000002</c:v>
                </c:pt>
                <c:pt idx="634">
                  <c:v>29.368921800000003</c:v>
                </c:pt>
                <c:pt idx="635">
                  <c:v>29.569427400000002</c:v>
                </c:pt>
                <c:pt idx="636">
                  <c:v>29.690609600000002</c:v>
                </c:pt>
                <c:pt idx="637">
                  <c:v>29.741714199999997</c:v>
                </c:pt>
                <c:pt idx="638">
                  <c:v>29.9300894</c:v>
                </c:pt>
                <c:pt idx="639">
                  <c:v>30.0677798</c:v>
                </c:pt>
                <c:pt idx="640">
                  <c:v>30.165921400000002</c:v>
                </c:pt>
                <c:pt idx="641">
                  <c:v>30.360219999999998</c:v>
                </c:pt>
                <c:pt idx="642">
                  <c:v>30.903851600000003</c:v>
                </c:pt>
                <c:pt idx="643">
                  <c:v>31.204660099999998</c:v>
                </c:pt>
                <c:pt idx="644">
                  <c:v>31.130444000000004</c:v>
                </c:pt>
                <c:pt idx="645">
                  <c:v>30.788405300000001</c:v>
                </c:pt>
                <c:pt idx="646">
                  <c:v>30.252333100000001</c:v>
                </c:pt>
                <c:pt idx="647">
                  <c:v>29.531642599999998</c:v>
                </c:pt>
                <c:pt idx="648">
                  <c:v>29.2358926</c:v>
                </c:pt>
                <c:pt idx="649">
                  <c:v>29.2138712</c:v>
                </c:pt>
                <c:pt idx="650">
                  <c:v>30.124265200000004</c:v>
                </c:pt>
                <c:pt idx="651">
                  <c:v>30.7109345</c:v>
                </c:pt>
                <c:pt idx="652">
                  <c:v>30.975975099999999</c:v>
                </c:pt>
                <c:pt idx="653">
                  <c:v>31.260114600000001</c:v>
                </c:pt>
                <c:pt idx="654">
                  <c:v>31.1937015</c:v>
                </c:pt>
                <c:pt idx="655">
                  <c:v>31.227542900000003</c:v>
                </c:pt>
                <c:pt idx="656">
                  <c:v>31.322016600000001</c:v>
                </c:pt>
                <c:pt idx="657">
                  <c:v>31.372697600000002</c:v>
                </c:pt>
                <c:pt idx="658">
                  <c:v>31.537544199999999</c:v>
                </c:pt>
                <c:pt idx="659">
                  <c:v>31.989918199999998</c:v>
                </c:pt>
                <c:pt idx="660">
                  <c:v>32.999462800000003</c:v>
                </c:pt>
                <c:pt idx="661">
                  <c:v>34.1688087</c:v>
                </c:pt>
                <c:pt idx="662">
                  <c:v>35.181080000000001</c:v>
                </c:pt>
                <c:pt idx="663">
                  <c:v>36.563885999999997</c:v>
                </c:pt>
                <c:pt idx="664">
                  <c:v>36.972743100000002</c:v>
                </c:pt>
                <c:pt idx="665">
                  <c:v>37.893521100000001</c:v>
                </c:pt>
                <c:pt idx="666">
                  <c:v>38.557843900000002</c:v>
                </c:pt>
                <c:pt idx="667">
                  <c:v>39.012839</c:v>
                </c:pt>
                <c:pt idx="668">
                  <c:v>39.342395500000002</c:v>
                </c:pt>
                <c:pt idx="669">
                  <c:v>39.583969500000002</c:v>
                </c:pt>
                <c:pt idx="670">
                  <c:v>40.041613900000002</c:v>
                </c:pt>
                <c:pt idx="671">
                  <c:v>40.764963199999997</c:v>
                </c:pt>
                <c:pt idx="672">
                  <c:v>41.0428821</c:v>
                </c:pt>
                <c:pt idx="673">
                  <c:v>41.172562200000002</c:v>
                </c:pt>
                <c:pt idx="674">
                  <c:v>40.909456800000001</c:v>
                </c:pt>
                <c:pt idx="675">
                  <c:v>41.016416599999999</c:v>
                </c:pt>
                <c:pt idx="676">
                  <c:v>42.081617199999997</c:v>
                </c:pt>
                <c:pt idx="677">
                  <c:v>42.703686500000003</c:v>
                </c:pt>
                <c:pt idx="678">
                  <c:v>43.116430399999999</c:v>
                </c:pt>
                <c:pt idx="679">
                  <c:v>43.374899400000004</c:v>
                </c:pt>
                <c:pt idx="680">
                  <c:v>43.275290699999999</c:v>
                </c:pt>
                <c:pt idx="681">
                  <c:v>43.1062443</c:v>
                </c:pt>
                <c:pt idx="682">
                  <c:v>43.098280299999999</c:v>
                </c:pt>
                <c:pt idx="683">
                  <c:v>43.445497899999999</c:v>
                </c:pt>
                <c:pt idx="684">
                  <c:v>43.536442899999997</c:v>
                </c:pt>
                <c:pt idx="685">
                  <c:v>42.9730159</c:v>
                </c:pt>
                <c:pt idx="686">
                  <c:v>42.292148900000001</c:v>
                </c:pt>
                <c:pt idx="687">
                  <c:v>40.958551100000001</c:v>
                </c:pt>
                <c:pt idx="688">
                  <c:v>39.4520251</c:v>
                </c:pt>
                <c:pt idx="689">
                  <c:v>37.9735698</c:v>
                </c:pt>
                <c:pt idx="690">
                  <c:v>36.244491600000003</c:v>
                </c:pt>
                <c:pt idx="691">
                  <c:v>35.771485499999997</c:v>
                </c:pt>
                <c:pt idx="692">
                  <c:v>34.915328600000002</c:v>
                </c:pt>
                <c:pt idx="693">
                  <c:v>34.1834889</c:v>
                </c:pt>
                <c:pt idx="694">
                  <c:v>33.740938299999996</c:v>
                </c:pt>
                <c:pt idx="695">
                  <c:v>33.511854599999999</c:v>
                </c:pt>
                <c:pt idx="696">
                  <c:v>33.443529299999994</c:v>
                </c:pt>
                <c:pt idx="697">
                  <c:v>33.802863099999996</c:v>
                </c:pt>
                <c:pt idx="698">
                  <c:v>34.784691699999996</c:v>
                </c:pt>
                <c:pt idx="699">
                  <c:v>35.665435600000002</c:v>
                </c:pt>
                <c:pt idx="700">
                  <c:v>37.2626487</c:v>
                </c:pt>
                <c:pt idx="701">
                  <c:v>38.835762200000005</c:v>
                </c:pt>
                <c:pt idx="702">
                  <c:v>41.771133800000001</c:v>
                </c:pt>
                <c:pt idx="703">
                  <c:v>45.415036099999995</c:v>
                </c:pt>
                <c:pt idx="704">
                  <c:v>49.774739600000004</c:v>
                </c:pt>
                <c:pt idx="705">
                  <c:v>53.4324066</c:v>
                </c:pt>
                <c:pt idx="706">
                  <c:v>56.849988600000003</c:v>
                </c:pt>
                <c:pt idx="707">
                  <c:v>59.239329900000001</c:v>
                </c:pt>
                <c:pt idx="708">
                  <c:v>61.363135100000001</c:v>
                </c:pt>
                <c:pt idx="709">
                  <c:v>63.6313648</c:v>
                </c:pt>
                <c:pt idx="710">
                  <c:v>66.885829799999996</c:v>
                </c:pt>
                <c:pt idx="711">
                  <c:v>70.772779999999997</c:v>
                </c:pt>
                <c:pt idx="712">
                  <c:v>74.0129017</c:v>
                </c:pt>
                <c:pt idx="713">
                  <c:v>76.279743300000007</c:v>
                </c:pt>
                <c:pt idx="714">
                  <c:v>77.305437799999993</c:v>
                </c:pt>
                <c:pt idx="715">
                  <c:v>78.590386300000006</c:v>
                </c:pt>
                <c:pt idx="716">
                  <c:v>78.134996000000001</c:v>
                </c:pt>
                <c:pt idx="717">
                  <c:v>78.254713899999999</c:v>
                </c:pt>
                <c:pt idx="718">
                  <c:v>79.085704800000002</c:v>
                </c:pt>
                <c:pt idx="719">
                  <c:v>80.29803960000001</c:v>
                </c:pt>
                <c:pt idx="720">
                  <c:v>81.137299200000001</c:v>
                </c:pt>
                <c:pt idx="721">
                  <c:v>82.77919</c:v>
                </c:pt>
                <c:pt idx="722">
                  <c:v>83.7027839</c:v>
                </c:pt>
                <c:pt idx="723">
                  <c:v>82.916144599999996</c:v>
                </c:pt>
                <c:pt idx="724">
                  <c:v>80.599379400000004</c:v>
                </c:pt>
                <c:pt idx="725">
                  <c:v>77.597272399999994</c:v>
                </c:pt>
                <c:pt idx="726">
                  <c:v>75.078706600000004</c:v>
                </c:pt>
                <c:pt idx="727">
                  <c:v>72.380775099999994</c:v>
                </c:pt>
                <c:pt idx="728">
                  <c:v>69.420099800000003</c:v>
                </c:pt>
                <c:pt idx="729">
                  <c:v>66.257208500000004</c:v>
                </c:pt>
                <c:pt idx="730">
                  <c:v>62.861148599999993</c:v>
                </c:pt>
                <c:pt idx="731">
                  <c:v>59.107211</c:v>
                </c:pt>
                <c:pt idx="732">
                  <c:v>56.1277708</c:v>
                </c:pt>
                <c:pt idx="733">
                  <c:v>54.819244699999999</c:v>
                </c:pt>
                <c:pt idx="734">
                  <c:v>53.517185599999998</c:v>
                </c:pt>
                <c:pt idx="735">
                  <c:v>51.524821500000002</c:v>
                </c:pt>
                <c:pt idx="736">
                  <c:v>50.450241699999999</c:v>
                </c:pt>
                <c:pt idx="737">
                  <c:v>50.964287499999998</c:v>
                </c:pt>
                <c:pt idx="738">
                  <c:v>51.580992000000002</c:v>
                </c:pt>
                <c:pt idx="739">
                  <c:v>52.050888900000004</c:v>
                </c:pt>
                <c:pt idx="740">
                  <c:v>52.882041400000006</c:v>
                </c:pt>
                <c:pt idx="741">
                  <c:v>52.845291199999998</c:v>
                </c:pt>
                <c:pt idx="742">
                  <c:v>52.749257900000003</c:v>
                </c:pt>
                <c:pt idx="743">
                  <c:v>52.419183399999994</c:v>
                </c:pt>
                <c:pt idx="744">
                  <c:v>52.457396799999998</c:v>
                </c:pt>
                <c:pt idx="745">
                  <c:v>52.420109400000001</c:v>
                </c:pt>
                <c:pt idx="746">
                  <c:v>52.021969999999996</c:v>
                </c:pt>
                <c:pt idx="747">
                  <c:v>51.390448800000001</c:v>
                </c:pt>
                <c:pt idx="748">
                  <c:v>50.847253100000003</c:v>
                </c:pt>
                <c:pt idx="749">
                  <c:v>50.661004300000002</c:v>
                </c:pt>
                <c:pt idx="750">
                  <c:v>49.855444199999994</c:v>
                </c:pt>
                <c:pt idx="751">
                  <c:v>47.993781900000002</c:v>
                </c:pt>
                <c:pt idx="752">
                  <c:v>47.4197901</c:v>
                </c:pt>
                <c:pt idx="753">
                  <c:v>49.605126900000002</c:v>
                </c:pt>
                <c:pt idx="754">
                  <c:v>51.922901699999997</c:v>
                </c:pt>
                <c:pt idx="755">
                  <c:v>53.5628818</c:v>
                </c:pt>
                <c:pt idx="756">
                  <c:v>54.9958709</c:v>
                </c:pt>
                <c:pt idx="757">
                  <c:v>56.569186500000001</c:v>
                </c:pt>
                <c:pt idx="758">
                  <c:v>57.582825499999998</c:v>
                </c:pt>
                <c:pt idx="759">
                  <c:v>58.800794799999998</c:v>
                </c:pt>
                <c:pt idx="760">
                  <c:v>60.628717700000003</c:v>
                </c:pt>
                <c:pt idx="761">
                  <c:v>64.579225800000003</c:v>
                </c:pt>
                <c:pt idx="762">
                  <c:v>66.274281599999995</c:v>
                </c:pt>
                <c:pt idx="763">
                  <c:v>66.784161799999993</c:v>
                </c:pt>
                <c:pt idx="764">
                  <c:v>66.904890600000002</c:v>
                </c:pt>
                <c:pt idx="765">
                  <c:v>67.703536100000008</c:v>
                </c:pt>
                <c:pt idx="766">
                  <c:v>66.638662499999995</c:v>
                </c:pt>
                <c:pt idx="767">
                  <c:v>66.082624799999991</c:v>
                </c:pt>
                <c:pt idx="768">
                  <c:v>67.2654371</c:v>
                </c:pt>
                <c:pt idx="769">
                  <c:v>67.851539299999999</c:v>
                </c:pt>
                <c:pt idx="770">
                  <c:v>68.281805000000006</c:v>
                </c:pt>
                <c:pt idx="771">
                  <c:v>68.2995643</c:v>
                </c:pt>
                <c:pt idx="772">
                  <c:v>69.926120800000007</c:v>
                </c:pt>
                <c:pt idx="773">
                  <c:v>74.456788099999997</c:v>
                </c:pt>
                <c:pt idx="774">
                  <c:v>80.300258700000001</c:v>
                </c:pt>
                <c:pt idx="775">
                  <c:v>85.198247299999991</c:v>
                </c:pt>
                <c:pt idx="776">
                  <c:v>93.646965100000003</c:v>
                </c:pt>
                <c:pt idx="777">
                  <c:v>101.24709369999999</c:v>
                </c:pt>
                <c:pt idx="778">
                  <c:v>109.6413934</c:v>
                </c:pt>
                <c:pt idx="779">
                  <c:v>118.0996047</c:v>
                </c:pt>
                <c:pt idx="780">
                  <c:v>125.2355427</c:v>
                </c:pt>
                <c:pt idx="781">
                  <c:v>130.8256093</c:v>
                </c:pt>
                <c:pt idx="782">
                  <c:v>134.69476950000001</c:v>
                </c:pt>
                <c:pt idx="783">
                  <c:v>139.03470770000001</c:v>
                </c:pt>
                <c:pt idx="784">
                  <c:v>142.61826049999999</c:v>
                </c:pt>
                <c:pt idx="785">
                  <c:v>146.11505490000002</c:v>
                </c:pt>
                <c:pt idx="786">
                  <c:v>146.66066859999998</c:v>
                </c:pt>
                <c:pt idx="787">
                  <c:v>143.96855260000001</c:v>
                </c:pt>
                <c:pt idx="788">
                  <c:v>141.74696230000001</c:v>
                </c:pt>
                <c:pt idx="789">
                  <c:v>138.64112399999999</c:v>
                </c:pt>
                <c:pt idx="790">
                  <c:v>134.3751111</c:v>
                </c:pt>
                <c:pt idx="791">
                  <c:v>131.4561588</c:v>
                </c:pt>
                <c:pt idx="792">
                  <c:v>128.2875105</c:v>
                </c:pt>
                <c:pt idx="793">
                  <c:v>125.338002</c:v>
                </c:pt>
                <c:pt idx="794">
                  <c:v>122.7197178</c:v>
                </c:pt>
                <c:pt idx="795">
                  <c:v>119.3146476</c:v>
                </c:pt>
                <c:pt idx="796">
                  <c:v>116.6351756</c:v>
                </c:pt>
                <c:pt idx="797">
                  <c:v>112.6833551</c:v>
                </c:pt>
                <c:pt idx="798">
                  <c:v>109.6770508</c:v>
                </c:pt>
                <c:pt idx="799">
                  <c:v>106.87102400000001</c:v>
                </c:pt>
                <c:pt idx="800">
                  <c:v>104.91151600000001</c:v>
                </c:pt>
                <c:pt idx="801">
                  <c:v>102.0467688</c:v>
                </c:pt>
                <c:pt idx="802">
                  <c:v>98.823194200000003</c:v>
                </c:pt>
                <c:pt idx="803">
                  <c:v>96.1708225</c:v>
                </c:pt>
                <c:pt idx="804">
                  <c:v>93.5730915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F80-4D44-B5FB-C7344E7BB008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Facebook</c:v>
                </c:pt>
              </c:strCache>
            </c:strRef>
          </c:tx>
          <c:spPr>
            <a:solidFill>
              <a:schemeClr val="accent2"/>
            </a:solidFill>
            <a:ln w="12700">
              <a:solidFill>
                <a:schemeClr val="accent2"/>
              </a:solidFill>
            </a:ln>
            <a:effectLst/>
          </c:spPr>
          <c:invertIfNegative val="0"/>
          <c:cat>
            <c:numRef>
              <c:f>Sheet1!$A$2:$A$806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J$2:$J$806</c:f>
              <c:numCache>
                <c:formatCode>#,##0</c:formatCode>
                <c:ptCount val="805"/>
                <c:pt idx="0">
                  <c:v>90.423608299999998</c:v>
                </c:pt>
                <c:pt idx="1">
                  <c:v>208.87298959999998</c:v>
                </c:pt>
                <c:pt idx="2">
                  <c:v>333.62018850000004</c:v>
                </c:pt>
                <c:pt idx="3">
                  <c:v>473.99200859999996</c:v>
                </c:pt>
                <c:pt idx="4">
                  <c:v>616.82983769999998</c:v>
                </c:pt>
                <c:pt idx="5">
                  <c:v>760.51874300000009</c:v>
                </c:pt>
                <c:pt idx="6">
                  <c:v>844.48196940000003</c:v>
                </c:pt>
                <c:pt idx="7">
                  <c:v>849.50634020000007</c:v>
                </c:pt>
                <c:pt idx="8">
                  <c:v>798.94378759999995</c:v>
                </c:pt>
                <c:pt idx="9">
                  <c:v>722.29912080000008</c:v>
                </c:pt>
                <c:pt idx="10">
                  <c:v>636.56041449999998</c:v>
                </c:pt>
                <c:pt idx="11">
                  <c:v>552.35580820000007</c:v>
                </c:pt>
                <c:pt idx="12">
                  <c:v>475.04783640000005</c:v>
                </c:pt>
                <c:pt idx="13">
                  <c:v>406.59368749999999</c:v>
                </c:pt>
                <c:pt idx="14">
                  <c:v>327.02034070000002</c:v>
                </c:pt>
                <c:pt idx="15">
                  <c:v>261.14070839999999</c:v>
                </c:pt>
                <c:pt idx="16">
                  <c:v>204.68206279999998</c:v>
                </c:pt>
                <c:pt idx="17">
                  <c:v>152.33387249999998</c:v>
                </c:pt>
                <c:pt idx="18">
                  <c:v>108.7642977</c:v>
                </c:pt>
                <c:pt idx="19">
                  <c:v>71.698058599999996</c:v>
                </c:pt>
                <c:pt idx="20">
                  <c:v>53.605905800000002</c:v>
                </c:pt>
                <c:pt idx="21">
                  <c:v>53.261840200000002</c:v>
                </c:pt>
                <c:pt idx="22">
                  <c:v>64.585197899999997</c:v>
                </c:pt>
                <c:pt idx="23">
                  <c:v>87.852385400000003</c:v>
                </c:pt>
                <c:pt idx="24">
                  <c:v>126.17620720000001</c:v>
                </c:pt>
                <c:pt idx="25">
                  <c:v>172.7159096</c:v>
                </c:pt>
                <c:pt idx="26">
                  <c:v>221.98191130000001</c:v>
                </c:pt>
                <c:pt idx="27">
                  <c:v>253.0048194</c:v>
                </c:pt>
                <c:pt idx="28">
                  <c:v>268.66929629999998</c:v>
                </c:pt>
                <c:pt idx="29">
                  <c:v>279.33219640000004</c:v>
                </c:pt>
                <c:pt idx="30">
                  <c:v>281.3287985</c:v>
                </c:pt>
                <c:pt idx="31">
                  <c:v>279.70285009999998</c:v>
                </c:pt>
                <c:pt idx="32">
                  <c:v>278.87009309999996</c:v>
                </c:pt>
                <c:pt idx="33">
                  <c:v>277.76137540000002</c:v>
                </c:pt>
                <c:pt idx="34">
                  <c:v>276.02640550000001</c:v>
                </c:pt>
                <c:pt idx="35">
                  <c:v>272.62736690000003</c:v>
                </c:pt>
                <c:pt idx="36">
                  <c:v>268.70702449999999</c:v>
                </c:pt>
                <c:pt idx="37">
                  <c:v>263.87468190000004</c:v>
                </c:pt>
                <c:pt idx="38">
                  <c:v>257.94694900000002</c:v>
                </c:pt>
                <c:pt idx="39">
                  <c:v>252.17223299999998</c:v>
                </c:pt>
                <c:pt idx="40">
                  <c:v>248.99307880000001</c:v>
                </c:pt>
                <c:pt idx="41">
                  <c:v>249.70305389999999</c:v>
                </c:pt>
                <c:pt idx="42">
                  <c:v>252.72486830000003</c:v>
                </c:pt>
                <c:pt idx="43">
                  <c:v>262.73764410000001</c:v>
                </c:pt>
                <c:pt idx="44">
                  <c:v>267.78208290000003</c:v>
                </c:pt>
                <c:pt idx="45">
                  <c:v>268.34845780000001</c:v>
                </c:pt>
                <c:pt idx="46">
                  <c:v>268.08222009999997</c:v>
                </c:pt>
                <c:pt idx="47">
                  <c:v>267.35708399999999</c:v>
                </c:pt>
                <c:pt idx="48">
                  <c:v>274.59905629999997</c:v>
                </c:pt>
                <c:pt idx="49">
                  <c:v>287.36514090000003</c:v>
                </c:pt>
                <c:pt idx="50">
                  <c:v>291.56516540000001</c:v>
                </c:pt>
                <c:pt idx="51">
                  <c:v>290.29064669999997</c:v>
                </c:pt>
                <c:pt idx="52">
                  <c:v>286.45992790000003</c:v>
                </c:pt>
                <c:pt idx="53">
                  <c:v>284.51682959999999</c:v>
                </c:pt>
                <c:pt idx="54">
                  <c:v>283.94851169999998</c:v>
                </c:pt>
                <c:pt idx="55">
                  <c:v>282.64984870000001</c:v>
                </c:pt>
                <c:pt idx="56">
                  <c:v>286.96700249999998</c:v>
                </c:pt>
                <c:pt idx="57">
                  <c:v>290.090937</c:v>
                </c:pt>
                <c:pt idx="58">
                  <c:v>296.45131179999998</c:v>
                </c:pt>
                <c:pt idx="59">
                  <c:v>304.25500599999998</c:v>
                </c:pt>
                <c:pt idx="60">
                  <c:v>313.7768524</c:v>
                </c:pt>
                <c:pt idx="61">
                  <c:v>322.9254158</c:v>
                </c:pt>
                <c:pt idx="62">
                  <c:v>328.12686819999999</c:v>
                </c:pt>
                <c:pt idx="63">
                  <c:v>330.62418110000004</c:v>
                </c:pt>
                <c:pt idx="64">
                  <c:v>332.37950489999997</c:v>
                </c:pt>
                <c:pt idx="65">
                  <c:v>335.98164680000002</c:v>
                </c:pt>
                <c:pt idx="66">
                  <c:v>336.82521840000004</c:v>
                </c:pt>
                <c:pt idx="67">
                  <c:v>340.06665340000001</c:v>
                </c:pt>
                <c:pt idx="68">
                  <c:v>345.49304749999999</c:v>
                </c:pt>
                <c:pt idx="69">
                  <c:v>350.14720590000002</c:v>
                </c:pt>
                <c:pt idx="70">
                  <c:v>350.76641659999996</c:v>
                </c:pt>
                <c:pt idx="71">
                  <c:v>351.74292530000002</c:v>
                </c:pt>
                <c:pt idx="72">
                  <c:v>353.22719289999998</c:v>
                </c:pt>
                <c:pt idx="73">
                  <c:v>353.9799721</c:v>
                </c:pt>
                <c:pt idx="74">
                  <c:v>357.66924949999998</c:v>
                </c:pt>
                <c:pt idx="75">
                  <c:v>360.84173220000002</c:v>
                </c:pt>
                <c:pt idx="76">
                  <c:v>364.53194120000001</c:v>
                </c:pt>
                <c:pt idx="77">
                  <c:v>370.31117740000002</c:v>
                </c:pt>
                <c:pt idx="78">
                  <c:v>373.18636859999998</c:v>
                </c:pt>
                <c:pt idx="79">
                  <c:v>372.30667879999999</c:v>
                </c:pt>
                <c:pt idx="80">
                  <c:v>370.21978319999999</c:v>
                </c:pt>
                <c:pt idx="81">
                  <c:v>367.62229780000001</c:v>
                </c:pt>
                <c:pt idx="82">
                  <c:v>366.121961</c:v>
                </c:pt>
                <c:pt idx="83">
                  <c:v>363.93808340000004</c:v>
                </c:pt>
                <c:pt idx="84">
                  <c:v>361.07473190000002</c:v>
                </c:pt>
                <c:pt idx="85">
                  <c:v>356.59589089999997</c:v>
                </c:pt>
                <c:pt idx="86">
                  <c:v>352.69701739999999</c:v>
                </c:pt>
                <c:pt idx="87">
                  <c:v>343.63523730000003</c:v>
                </c:pt>
                <c:pt idx="88">
                  <c:v>330.55840850000004</c:v>
                </c:pt>
                <c:pt idx="89">
                  <c:v>320.92545369999999</c:v>
                </c:pt>
                <c:pt idx="90">
                  <c:v>310.70059449999997</c:v>
                </c:pt>
                <c:pt idx="91">
                  <c:v>299.38983750000006</c:v>
                </c:pt>
                <c:pt idx="92">
                  <c:v>288.8456564</c:v>
                </c:pt>
                <c:pt idx="93">
                  <c:v>278.4506513</c:v>
                </c:pt>
                <c:pt idx="94">
                  <c:v>268.50874279999999</c:v>
                </c:pt>
                <c:pt idx="95">
                  <c:v>262.66102969999997</c:v>
                </c:pt>
                <c:pt idx="96">
                  <c:v>261.41289189999998</c:v>
                </c:pt>
                <c:pt idx="97">
                  <c:v>264.82077340000001</c:v>
                </c:pt>
                <c:pt idx="98">
                  <c:v>269.7741178</c:v>
                </c:pt>
                <c:pt idx="99">
                  <c:v>273.19407769999998</c:v>
                </c:pt>
                <c:pt idx="100">
                  <c:v>275.47069949999997</c:v>
                </c:pt>
                <c:pt idx="101">
                  <c:v>279.0486856</c:v>
                </c:pt>
                <c:pt idx="102">
                  <c:v>284.52594820000002</c:v>
                </c:pt>
                <c:pt idx="103">
                  <c:v>290.65445540000002</c:v>
                </c:pt>
                <c:pt idx="104">
                  <c:v>295.81239840000001</c:v>
                </c:pt>
                <c:pt idx="105">
                  <c:v>298.02647189999999</c:v>
                </c:pt>
                <c:pt idx="106">
                  <c:v>296.99148990000003</c:v>
                </c:pt>
                <c:pt idx="107">
                  <c:v>296.73331039999999</c:v>
                </c:pt>
                <c:pt idx="108">
                  <c:v>298.36206559999999</c:v>
                </c:pt>
                <c:pt idx="109">
                  <c:v>303.66906449999999</c:v>
                </c:pt>
                <c:pt idx="110">
                  <c:v>313.53126020000002</c:v>
                </c:pt>
                <c:pt idx="111">
                  <c:v>321.71487660000003</c:v>
                </c:pt>
                <c:pt idx="112">
                  <c:v>322.21020120000003</c:v>
                </c:pt>
                <c:pt idx="113">
                  <c:v>317.72533440000001</c:v>
                </c:pt>
                <c:pt idx="114">
                  <c:v>307.64031510000001</c:v>
                </c:pt>
                <c:pt idx="115">
                  <c:v>297.91587900000002</c:v>
                </c:pt>
                <c:pt idx="116">
                  <c:v>290.78408780000001</c:v>
                </c:pt>
                <c:pt idx="117">
                  <c:v>283.64132699999999</c:v>
                </c:pt>
                <c:pt idx="118">
                  <c:v>275.28235000000001</c:v>
                </c:pt>
                <c:pt idx="119">
                  <c:v>263.93903560000001</c:v>
                </c:pt>
                <c:pt idx="120">
                  <c:v>254.64361919999999</c:v>
                </c:pt>
                <c:pt idx="121">
                  <c:v>245.25664030000002</c:v>
                </c:pt>
                <c:pt idx="122">
                  <c:v>241.34403609999998</c:v>
                </c:pt>
                <c:pt idx="123">
                  <c:v>243.96798749999999</c:v>
                </c:pt>
                <c:pt idx="124">
                  <c:v>251.17392080000002</c:v>
                </c:pt>
                <c:pt idx="125">
                  <c:v>257.48566340000002</c:v>
                </c:pt>
                <c:pt idx="126">
                  <c:v>263.58112560000001</c:v>
                </c:pt>
                <c:pt idx="127">
                  <c:v>275.77633300000002</c:v>
                </c:pt>
                <c:pt idx="128">
                  <c:v>291.32884109999998</c:v>
                </c:pt>
                <c:pt idx="129">
                  <c:v>309.1879801</c:v>
                </c:pt>
                <c:pt idx="130">
                  <c:v>327.94516179999999</c:v>
                </c:pt>
                <c:pt idx="131">
                  <c:v>345.49423179999997</c:v>
                </c:pt>
                <c:pt idx="132">
                  <c:v>358.30268000000001</c:v>
                </c:pt>
                <c:pt idx="133">
                  <c:v>361.48419539999998</c:v>
                </c:pt>
                <c:pt idx="134">
                  <c:v>356.62568929999998</c:v>
                </c:pt>
                <c:pt idx="135">
                  <c:v>349.97748569999999</c:v>
                </c:pt>
                <c:pt idx="136">
                  <c:v>341.16340430000002</c:v>
                </c:pt>
                <c:pt idx="137">
                  <c:v>334.01374810000004</c:v>
                </c:pt>
                <c:pt idx="138">
                  <c:v>329.8225516</c:v>
                </c:pt>
                <c:pt idx="139">
                  <c:v>326.00987400000002</c:v>
                </c:pt>
                <c:pt idx="140">
                  <c:v>321.44121730000001</c:v>
                </c:pt>
                <c:pt idx="141">
                  <c:v>313.88371960000001</c:v>
                </c:pt>
                <c:pt idx="142">
                  <c:v>309.007116</c:v>
                </c:pt>
                <c:pt idx="143">
                  <c:v>301.41093280000001</c:v>
                </c:pt>
                <c:pt idx="144">
                  <c:v>294.67784549999999</c:v>
                </c:pt>
                <c:pt idx="145">
                  <c:v>287.04721130000001</c:v>
                </c:pt>
                <c:pt idx="146">
                  <c:v>277.18601560000002</c:v>
                </c:pt>
                <c:pt idx="147">
                  <c:v>266.88902849999999</c:v>
                </c:pt>
                <c:pt idx="148">
                  <c:v>257.47273810000002</c:v>
                </c:pt>
                <c:pt idx="149">
                  <c:v>248.07914679999999</c:v>
                </c:pt>
                <c:pt idx="150">
                  <c:v>241.15628999999998</c:v>
                </c:pt>
                <c:pt idx="151">
                  <c:v>235.15567779999998</c:v>
                </c:pt>
                <c:pt idx="152">
                  <c:v>228.76270410000001</c:v>
                </c:pt>
                <c:pt idx="153">
                  <c:v>222.33989639999999</c:v>
                </c:pt>
                <c:pt idx="154">
                  <c:v>216.60758010000001</c:v>
                </c:pt>
                <c:pt idx="155">
                  <c:v>217.27142550000002</c:v>
                </c:pt>
                <c:pt idx="156">
                  <c:v>216.941148</c:v>
                </c:pt>
                <c:pt idx="157">
                  <c:v>213.87441939999999</c:v>
                </c:pt>
                <c:pt idx="158">
                  <c:v>211.98026150000001</c:v>
                </c:pt>
                <c:pt idx="159">
                  <c:v>212.24502799999999</c:v>
                </c:pt>
                <c:pt idx="160">
                  <c:v>212.99763190000002</c:v>
                </c:pt>
                <c:pt idx="161">
                  <c:v>215.81725900000001</c:v>
                </c:pt>
                <c:pt idx="162">
                  <c:v>218.84325699999999</c:v>
                </c:pt>
                <c:pt idx="163">
                  <c:v>222.81398109999998</c:v>
                </c:pt>
                <c:pt idx="164">
                  <c:v>227.82712309999999</c:v>
                </c:pt>
                <c:pt idx="165">
                  <c:v>235.26194419999999</c:v>
                </c:pt>
                <c:pt idx="166">
                  <c:v>240.88381660000002</c:v>
                </c:pt>
                <c:pt idx="167">
                  <c:v>244.80706179999999</c:v>
                </c:pt>
                <c:pt idx="168">
                  <c:v>264.56537960000003</c:v>
                </c:pt>
                <c:pt idx="169">
                  <c:v>301.81625659999997</c:v>
                </c:pt>
                <c:pt idx="170">
                  <c:v>346.84759120000001</c:v>
                </c:pt>
                <c:pt idx="171">
                  <c:v>393.07449909999997</c:v>
                </c:pt>
                <c:pt idx="172">
                  <c:v>445.63536369999997</c:v>
                </c:pt>
                <c:pt idx="173">
                  <c:v>498.54294019999998</c:v>
                </c:pt>
                <c:pt idx="174">
                  <c:v>536.88027280000006</c:v>
                </c:pt>
                <c:pt idx="175">
                  <c:v>573.22661800000003</c:v>
                </c:pt>
                <c:pt idx="176">
                  <c:v>621.90970370000002</c:v>
                </c:pt>
                <c:pt idx="177">
                  <c:v>671.49259599999993</c:v>
                </c:pt>
                <c:pt idx="178">
                  <c:v>727.75591989999998</c:v>
                </c:pt>
                <c:pt idx="179">
                  <c:v>791.6875495999999</c:v>
                </c:pt>
                <c:pt idx="180">
                  <c:v>861.165978</c:v>
                </c:pt>
                <c:pt idx="181">
                  <c:v>907.3448284000001</c:v>
                </c:pt>
                <c:pt idx="182">
                  <c:v>929.70973470000001</c:v>
                </c:pt>
                <c:pt idx="183">
                  <c:v>933.89615060000006</c:v>
                </c:pt>
                <c:pt idx="184">
                  <c:v>951.80646809999996</c:v>
                </c:pt>
                <c:pt idx="185">
                  <c:v>975.67707730000006</c:v>
                </c:pt>
                <c:pt idx="186">
                  <c:v>995.04825460000006</c:v>
                </c:pt>
                <c:pt idx="187">
                  <c:v>1009.9986</c:v>
                </c:pt>
                <c:pt idx="188">
                  <c:v>1005.7748444</c:v>
                </c:pt>
                <c:pt idx="189">
                  <c:v>985.82688940000003</c:v>
                </c:pt>
                <c:pt idx="190">
                  <c:v>957.35190250000005</c:v>
                </c:pt>
                <c:pt idx="191">
                  <c:v>954.73974840000005</c:v>
                </c:pt>
                <c:pt idx="192">
                  <c:v>975.30956900000001</c:v>
                </c:pt>
                <c:pt idx="193">
                  <c:v>1014.8701480999999</c:v>
                </c:pt>
                <c:pt idx="194">
                  <c:v>1055.9316289999999</c:v>
                </c:pt>
                <c:pt idx="195">
                  <c:v>1028.9541340000001</c:v>
                </c:pt>
                <c:pt idx="196">
                  <c:v>967.96698889999993</c:v>
                </c:pt>
                <c:pt idx="197">
                  <c:v>892.62767109999993</c:v>
                </c:pt>
                <c:pt idx="198">
                  <c:v>803.67322559999991</c:v>
                </c:pt>
                <c:pt idx="199">
                  <c:v>717.8415966</c:v>
                </c:pt>
                <c:pt idx="200">
                  <c:v>640.47356939999997</c:v>
                </c:pt>
                <c:pt idx="201">
                  <c:v>572.06261289999998</c:v>
                </c:pt>
                <c:pt idx="202">
                  <c:v>518.80162110000003</c:v>
                </c:pt>
                <c:pt idx="203">
                  <c:v>478.58468199999999</c:v>
                </c:pt>
                <c:pt idx="204">
                  <c:v>457.39356179999999</c:v>
                </c:pt>
                <c:pt idx="205">
                  <c:v>436.82549410000001</c:v>
                </c:pt>
                <c:pt idx="206">
                  <c:v>415.86257899999998</c:v>
                </c:pt>
                <c:pt idx="207">
                  <c:v>397.74917809999999</c:v>
                </c:pt>
                <c:pt idx="208">
                  <c:v>384.76013490000003</c:v>
                </c:pt>
                <c:pt idx="209">
                  <c:v>388.6350003</c:v>
                </c:pt>
                <c:pt idx="210">
                  <c:v>387.11758299999997</c:v>
                </c:pt>
                <c:pt idx="211">
                  <c:v>382.66394859999997</c:v>
                </c:pt>
                <c:pt idx="212">
                  <c:v>377.97237889999997</c:v>
                </c:pt>
                <c:pt idx="213">
                  <c:v>373.27414099999999</c:v>
                </c:pt>
                <c:pt idx="214">
                  <c:v>370.01361350000002</c:v>
                </c:pt>
                <c:pt idx="215">
                  <c:v>367.44168590000004</c:v>
                </c:pt>
                <c:pt idx="216">
                  <c:v>364.4717938</c:v>
                </c:pt>
                <c:pt idx="217">
                  <c:v>358.91435269999999</c:v>
                </c:pt>
                <c:pt idx="218">
                  <c:v>350.27284989999998</c:v>
                </c:pt>
                <c:pt idx="219">
                  <c:v>343.82271100000003</c:v>
                </c:pt>
                <c:pt idx="220">
                  <c:v>339.71822030000004</c:v>
                </c:pt>
                <c:pt idx="221">
                  <c:v>338.55602579999999</c:v>
                </c:pt>
                <c:pt idx="222">
                  <c:v>337.88605089999999</c:v>
                </c:pt>
                <c:pt idx="223">
                  <c:v>338.456005</c:v>
                </c:pt>
                <c:pt idx="224">
                  <c:v>337.4320429</c:v>
                </c:pt>
                <c:pt idx="225">
                  <c:v>330.40762889999996</c:v>
                </c:pt>
                <c:pt idx="226">
                  <c:v>324.15653509999999</c:v>
                </c:pt>
                <c:pt idx="227">
                  <c:v>335.09070149999997</c:v>
                </c:pt>
                <c:pt idx="228">
                  <c:v>357.00671879999999</c:v>
                </c:pt>
                <c:pt idx="229">
                  <c:v>386.49922609999999</c:v>
                </c:pt>
                <c:pt idx="230">
                  <c:v>402.94437020000004</c:v>
                </c:pt>
                <c:pt idx="231">
                  <c:v>407.59966639999999</c:v>
                </c:pt>
                <c:pt idx="232">
                  <c:v>415.42031099999997</c:v>
                </c:pt>
                <c:pt idx="233">
                  <c:v>427.9735536</c:v>
                </c:pt>
                <c:pt idx="234">
                  <c:v>442.77064639999998</c:v>
                </c:pt>
                <c:pt idx="235">
                  <c:v>448.78606789999998</c:v>
                </c:pt>
                <c:pt idx="236">
                  <c:v>451.95780130000003</c:v>
                </c:pt>
                <c:pt idx="237">
                  <c:v>450.49861549999997</c:v>
                </c:pt>
                <c:pt idx="238">
                  <c:v>445.73746199999999</c:v>
                </c:pt>
                <c:pt idx="239">
                  <c:v>432.05937759999995</c:v>
                </c:pt>
                <c:pt idx="240">
                  <c:v>412.79144550000001</c:v>
                </c:pt>
                <c:pt idx="241">
                  <c:v>389.67917399999999</c:v>
                </c:pt>
                <c:pt idx="242">
                  <c:v>370.05745529999996</c:v>
                </c:pt>
                <c:pt idx="243">
                  <c:v>354.9950432</c:v>
                </c:pt>
                <c:pt idx="244">
                  <c:v>343.42870090000002</c:v>
                </c:pt>
                <c:pt idx="245">
                  <c:v>341.33461429999994</c:v>
                </c:pt>
                <c:pt idx="246">
                  <c:v>341.52084500000001</c:v>
                </c:pt>
                <c:pt idx="247">
                  <c:v>342.26255580000003</c:v>
                </c:pt>
                <c:pt idx="248">
                  <c:v>337.67560409999999</c:v>
                </c:pt>
                <c:pt idx="249">
                  <c:v>317.51058399999999</c:v>
                </c:pt>
                <c:pt idx="250">
                  <c:v>287.19870429999997</c:v>
                </c:pt>
                <c:pt idx="251">
                  <c:v>252.26193739999999</c:v>
                </c:pt>
                <c:pt idx="252">
                  <c:v>216.24192650000001</c:v>
                </c:pt>
                <c:pt idx="253">
                  <c:v>184.21275750000001</c:v>
                </c:pt>
                <c:pt idx="254">
                  <c:v>175.55314999999999</c:v>
                </c:pt>
                <c:pt idx="255">
                  <c:v>235.74752480000001</c:v>
                </c:pt>
                <c:pt idx="256">
                  <c:v>331.69015730000001</c:v>
                </c:pt>
                <c:pt idx="257">
                  <c:v>445.85659920000001</c:v>
                </c:pt>
                <c:pt idx="258">
                  <c:v>562.32246440000006</c:v>
                </c:pt>
                <c:pt idx="259">
                  <c:v>658.56320779999999</c:v>
                </c:pt>
                <c:pt idx="260">
                  <c:v>745.7140339</c:v>
                </c:pt>
                <c:pt idx="261">
                  <c:v>824.6888692</c:v>
                </c:pt>
                <c:pt idx="262">
                  <c:v>898.23768879999989</c:v>
                </c:pt>
                <c:pt idx="263">
                  <c:v>973.87049289999993</c:v>
                </c:pt>
                <c:pt idx="264">
                  <c:v>1062.7977421999999</c:v>
                </c:pt>
                <c:pt idx="265">
                  <c:v>1116.6304958000001</c:v>
                </c:pt>
                <c:pt idx="266">
                  <c:v>1100.1906659000001</c:v>
                </c:pt>
                <c:pt idx="267">
                  <c:v>1048.2529988000001</c:v>
                </c:pt>
                <c:pt idx="268">
                  <c:v>976.88438959999996</c:v>
                </c:pt>
                <c:pt idx="269">
                  <c:v>889.94388149999997</c:v>
                </c:pt>
                <c:pt idx="270">
                  <c:v>816.9175123</c:v>
                </c:pt>
                <c:pt idx="271">
                  <c:v>761.60580479999999</c:v>
                </c:pt>
                <c:pt idx="272">
                  <c:v>717.89281130000006</c:v>
                </c:pt>
                <c:pt idx="273">
                  <c:v>687.4221189000001</c:v>
                </c:pt>
                <c:pt idx="274">
                  <c:v>664.5780567999999</c:v>
                </c:pt>
                <c:pt idx="275">
                  <c:v>640.84935059999998</c:v>
                </c:pt>
                <c:pt idx="276">
                  <c:v>606.22913629999994</c:v>
                </c:pt>
                <c:pt idx="277">
                  <c:v>567.49580630000003</c:v>
                </c:pt>
                <c:pt idx="278">
                  <c:v>525.64910239999995</c:v>
                </c:pt>
                <c:pt idx="279">
                  <c:v>478.30066190000002</c:v>
                </c:pt>
                <c:pt idx="280">
                  <c:v>426.66376990000003</c:v>
                </c:pt>
                <c:pt idx="281">
                  <c:v>368.74174749999997</c:v>
                </c:pt>
                <c:pt idx="282">
                  <c:v>311.35334349999999</c:v>
                </c:pt>
                <c:pt idx="283">
                  <c:v>258.67536680000001</c:v>
                </c:pt>
                <c:pt idx="284">
                  <c:v>211.09782959999998</c:v>
                </c:pt>
                <c:pt idx="285">
                  <c:v>170.01437710000002</c:v>
                </c:pt>
                <c:pt idx="286">
                  <c:v>134.8985922</c:v>
                </c:pt>
                <c:pt idx="287">
                  <c:v>103.32087539999999</c:v>
                </c:pt>
                <c:pt idx="288">
                  <c:v>75.778689700000001</c:v>
                </c:pt>
                <c:pt idx="289">
                  <c:v>54.134984000000003</c:v>
                </c:pt>
                <c:pt idx="290">
                  <c:v>38.732005099999995</c:v>
                </c:pt>
                <c:pt idx="291">
                  <c:v>25.837159300000003</c:v>
                </c:pt>
                <c:pt idx="292">
                  <c:v>15.321146199999999</c:v>
                </c:pt>
                <c:pt idx="293">
                  <c:v>10.7812278</c:v>
                </c:pt>
                <c:pt idx="294">
                  <c:v>9.1259146999999992</c:v>
                </c:pt>
                <c:pt idx="295">
                  <c:v>7.4290719999999997</c:v>
                </c:pt>
                <c:pt idx="296">
                  <c:v>5.9106342999999999</c:v>
                </c:pt>
                <c:pt idx="297">
                  <c:v>4.6401751999999998</c:v>
                </c:pt>
                <c:pt idx="298">
                  <c:v>3.4391924</c:v>
                </c:pt>
                <c:pt idx="299">
                  <c:v>2.4246417</c:v>
                </c:pt>
                <c:pt idx="300">
                  <c:v>2.0783906999999999</c:v>
                </c:pt>
                <c:pt idx="301">
                  <c:v>2.0898975000000002</c:v>
                </c:pt>
                <c:pt idx="302">
                  <c:v>1.9290044</c:v>
                </c:pt>
                <c:pt idx="303">
                  <c:v>1.6966222</c:v>
                </c:pt>
                <c:pt idx="304">
                  <c:v>1.4342775999999999</c:v>
                </c:pt>
                <c:pt idx="305">
                  <c:v>1.1722374</c:v>
                </c:pt>
                <c:pt idx="306">
                  <c:v>0.93992279999999995</c:v>
                </c:pt>
                <c:pt idx="307">
                  <c:v>0.73615410000000003</c:v>
                </c:pt>
                <c:pt idx="308">
                  <c:v>0.6595567</c:v>
                </c:pt>
                <c:pt idx="309">
                  <c:v>0.81922450000000002</c:v>
                </c:pt>
                <c:pt idx="310">
                  <c:v>1.0957705</c:v>
                </c:pt>
                <c:pt idx="311">
                  <c:v>1.3678471999999999</c:v>
                </c:pt>
                <c:pt idx="312">
                  <c:v>1.4141702</c:v>
                </c:pt>
                <c:pt idx="313">
                  <c:v>1.3235641</c:v>
                </c:pt>
                <c:pt idx="314">
                  <c:v>1.1761702999999999</c:v>
                </c:pt>
                <c:pt idx="315">
                  <c:v>1.0099077999999999</c:v>
                </c:pt>
                <c:pt idx="316">
                  <c:v>0.87383029999999995</c:v>
                </c:pt>
                <c:pt idx="317">
                  <c:v>0.74044969999999999</c:v>
                </c:pt>
                <c:pt idx="318">
                  <c:v>0.61750899999999997</c:v>
                </c:pt>
                <c:pt idx="319">
                  <c:v>0.50855640000000002</c:v>
                </c:pt>
                <c:pt idx="320">
                  <c:v>0.41459960000000001</c:v>
                </c:pt>
                <c:pt idx="321">
                  <c:v>0.33518419999999999</c:v>
                </c:pt>
                <c:pt idx="322">
                  <c:v>0.2483805</c:v>
                </c:pt>
                <c:pt idx="323">
                  <c:v>0.177869</c:v>
                </c:pt>
                <c:pt idx="324">
                  <c:v>0.62525790000000003</c:v>
                </c:pt>
                <c:pt idx="325">
                  <c:v>1.5501175</c:v>
                </c:pt>
                <c:pt idx="326">
                  <c:v>2.7692967999999998</c:v>
                </c:pt>
                <c:pt idx="327">
                  <c:v>4.1661938000000003</c:v>
                </c:pt>
                <c:pt idx="328">
                  <c:v>5.1682696999999997</c:v>
                </c:pt>
                <c:pt idx="329">
                  <c:v>5.3710411000000002</c:v>
                </c:pt>
                <c:pt idx="330">
                  <c:v>5.1373541999999999</c:v>
                </c:pt>
                <c:pt idx="331">
                  <c:v>4.7128072000000003</c:v>
                </c:pt>
                <c:pt idx="332">
                  <c:v>4.2370926999999998</c:v>
                </c:pt>
                <c:pt idx="333">
                  <c:v>3.7779552000000001</c:v>
                </c:pt>
                <c:pt idx="334">
                  <c:v>3.3900749999999999</c:v>
                </c:pt>
                <c:pt idx="335">
                  <c:v>3.0119191999999999</c:v>
                </c:pt>
                <c:pt idx="336">
                  <c:v>2.6731066000000001</c:v>
                </c:pt>
                <c:pt idx="337">
                  <c:v>2.3559592</c:v>
                </c:pt>
                <c:pt idx="338">
                  <c:v>1.9110235</c:v>
                </c:pt>
                <c:pt idx="339">
                  <c:v>1.4732201</c:v>
                </c:pt>
                <c:pt idx="340">
                  <c:v>1.1145674999999999</c:v>
                </c:pt>
                <c:pt idx="341">
                  <c:v>0.80683269999999996</c:v>
                </c:pt>
                <c:pt idx="342">
                  <c:v>0.65754429999999997</c:v>
                </c:pt>
                <c:pt idx="343">
                  <c:v>0.61158599999999996</c:v>
                </c:pt>
                <c:pt idx="344">
                  <c:v>0.54171939999999996</c:v>
                </c:pt>
                <c:pt idx="345">
                  <c:v>0.63983310000000004</c:v>
                </c:pt>
                <c:pt idx="346">
                  <c:v>1.0697254</c:v>
                </c:pt>
                <c:pt idx="347">
                  <c:v>1.6736051000000001</c:v>
                </c:pt>
                <c:pt idx="348">
                  <c:v>2.3461080999999999</c:v>
                </c:pt>
                <c:pt idx="349">
                  <c:v>2.6275732999999999</c:v>
                </c:pt>
                <c:pt idx="350">
                  <c:v>2.7573854999999998</c:v>
                </c:pt>
                <c:pt idx="351">
                  <c:v>2.7885140000000002</c:v>
                </c:pt>
                <c:pt idx="352">
                  <c:v>2.6267985999999999</c:v>
                </c:pt>
                <c:pt idx="353">
                  <c:v>2.3574326000000001</c:v>
                </c:pt>
                <c:pt idx="354">
                  <c:v>2.0445595999999999</c:v>
                </c:pt>
                <c:pt idx="355">
                  <c:v>1.7313201</c:v>
                </c:pt>
                <c:pt idx="356">
                  <c:v>1.4398693</c:v>
                </c:pt>
                <c:pt idx="357">
                  <c:v>1.1905950000000001</c:v>
                </c:pt>
                <c:pt idx="358">
                  <c:v>0.97381189999999995</c:v>
                </c:pt>
                <c:pt idx="359">
                  <c:v>0.74862810000000002</c:v>
                </c:pt>
                <c:pt idx="360">
                  <c:v>0.50667890000000004</c:v>
                </c:pt>
                <c:pt idx="361">
                  <c:v>0.30570750000000002</c:v>
                </c:pt>
                <c:pt idx="362">
                  <c:v>0.13957359999999999</c:v>
                </c:pt>
                <c:pt idx="363">
                  <c:v>0.13394229999999999</c:v>
                </c:pt>
                <c:pt idx="364">
                  <c:v>0.21429699999999999</c:v>
                </c:pt>
                <c:pt idx="365">
                  <c:v>0.37792170000000003</c:v>
                </c:pt>
                <c:pt idx="366">
                  <c:v>0.62972629999999996</c:v>
                </c:pt>
                <c:pt idx="367">
                  <c:v>0.88605089999999997</c:v>
                </c:pt>
                <c:pt idx="368">
                  <c:v>1.9043060000000001</c:v>
                </c:pt>
                <c:pt idx="369">
                  <c:v>3.9134859999999998</c:v>
                </c:pt>
                <c:pt idx="370">
                  <c:v>7.1233156000000006</c:v>
                </c:pt>
                <c:pt idx="371">
                  <c:v>10.327341799999999</c:v>
                </c:pt>
                <c:pt idx="372">
                  <c:v>12.424584100000001</c:v>
                </c:pt>
                <c:pt idx="373">
                  <c:v>13.683090999999999</c:v>
                </c:pt>
                <c:pt idx="374">
                  <c:v>15.190967199999999</c:v>
                </c:pt>
                <c:pt idx="375">
                  <c:v>19.557337700000001</c:v>
                </c:pt>
                <c:pt idx="376">
                  <c:v>25.571412799999997</c:v>
                </c:pt>
                <c:pt idx="377">
                  <c:v>28.913608199999999</c:v>
                </c:pt>
                <c:pt idx="378">
                  <c:v>30.622923799999999</c:v>
                </c:pt>
                <c:pt idx="379">
                  <c:v>32.050694900000003</c:v>
                </c:pt>
                <c:pt idx="380">
                  <c:v>31.9468949</c:v>
                </c:pt>
                <c:pt idx="381">
                  <c:v>31.386086899999999</c:v>
                </c:pt>
                <c:pt idx="382">
                  <c:v>31.203544399999998</c:v>
                </c:pt>
                <c:pt idx="383">
                  <c:v>31.9276503</c:v>
                </c:pt>
                <c:pt idx="384">
                  <c:v>31.9987618</c:v>
                </c:pt>
                <c:pt idx="385">
                  <c:v>32.156859400000002</c:v>
                </c:pt>
                <c:pt idx="386">
                  <c:v>33.067623300000001</c:v>
                </c:pt>
                <c:pt idx="387">
                  <c:v>36.235830300000003</c:v>
                </c:pt>
                <c:pt idx="388">
                  <c:v>40.912214200000001</c:v>
                </c:pt>
                <c:pt idx="389">
                  <c:v>47.700313399999999</c:v>
                </c:pt>
                <c:pt idx="390">
                  <c:v>54.577618999999999</c:v>
                </c:pt>
                <c:pt idx="391">
                  <c:v>55.9989542</c:v>
                </c:pt>
                <c:pt idx="392">
                  <c:v>54.774788799999996</c:v>
                </c:pt>
                <c:pt idx="393">
                  <c:v>57.038646700000001</c:v>
                </c:pt>
                <c:pt idx="394">
                  <c:v>62.496710800000002</c:v>
                </c:pt>
                <c:pt idx="395">
                  <c:v>69.514924800000003</c:v>
                </c:pt>
                <c:pt idx="396">
                  <c:v>77.9699016</c:v>
                </c:pt>
                <c:pt idx="397">
                  <c:v>86.508164999999991</c:v>
                </c:pt>
                <c:pt idx="398">
                  <c:v>93.725186699999995</c:v>
                </c:pt>
                <c:pt idx="399">
                  <c:v>99.903885099999997</c:v>
                </c:pt>
                <c:pt idx="400">
                  <c:v>104.49700559999999</c:v>
                </c:pt>
                <c:pt idx="401">
                  <c:v>107.87319939999999</c:v>
                </c:pt>
                <c:pt idx="402">
                  <c:v>111.06307989999999</c:v>
                </c:pt>
                <c:pt idx="403">
                  <c:v>114.33103270000001</c:v>
                </c:pt>
                <c:pt idx="404">
                  <c:v>118.0209457</c:v>
                </c:pt>
                <c:pt idx="405">
                  <c:v>124.03188689999999</c:v>
                </c:pt>
                <c:pt idx="406">
                  <c:v>129.3164012</c:v>
                </c:pt>
                <c:pt idx="407">
                  <c:v>132.62279040000001</c:v>
                </c:pt>
                <c:pt idx="408">
                  <c:v>135.68079769999997</c:v>
                </c:pt>
                <c:pt idx="409">
                  <c:v>140.91877929999998</c:v>
                </c:pt>
                <c:pt idx="410">
                  <c:v>147.9230513</c:v>
                </c:pt>
                <c:pt idx="411">
                  <c:v>157.44156799999999</c:v>
                </c:pt>
                <c:pt idx="412">
                  <c:v>167.49641749999998</c:v>
                </c:pt>
                <c:pt idx="413">
                  <c:v>176.55765120000001</c:v>
                </c:pt>
                <c:pt idx="414">
                  <c:v>185.45559779999999</c:v>
                </c:pt>
                <c:pt idx="415">
                  <c:v>200.73239699999999</c:v>
                </c:pt>
                <c:pt idx="416">
                  <c:v>209.91911280000002</c:v>
                </c:pt>
                <c:pt idx="417">
                  <c:v>208.75535729999996</c:v>
                </c:pt>
                <c:pt idx="418">
                  <c:v>201.41343650000002</c:v>
                </c:pt>
                <c:pt idx="419">
                  <c:v>188.04494010000002</c:v>
                </c:pt>
                <c:pt idx="420">
                  <c:v>171.14385140000002</c:v>
                </c:pt>
                <c:pt idx="421">
                  <c:v>153.46923889999999</c:v>
                </c:pt>
                <c:pt idx="422">
                  <c:v>136.87802010000001</c:v>
                </c:pt>
                <c:pt idx="423">
                  <c:v>121.69760170000001</c:v>
                </c:pt>
                <c:pt idx="424">
                  <c:v>108.74786610000001</c:v>
                </c:pt>
                <c:pt idx="425">
                  <c:v>97.801942600000004</c:v>
                </c:pt>
                <c:pt idx="426">
                  <c:v>88.531850899999995</c:v>
                </c:pt>
                <c:pt idx="427">
                  <c:v>80.529929399999986</c:v>
                </c:pt>
                <c:pt idx="428">
                  <c:v>74.148280599999993</c:v>
                </c:pt>
                <c:pt idx="429">
                  <c:v>68.2981044</c:v>
                </c:pt>
                <c:pt idx="430">
                  <c:v>65.781344899999993</c:v>
                </c:pt>
                <c:pt idx="431">
                  <c:v>65.493914200000006</c:v>
                </c:pt>
                <c:pt idx="432">
                  <c:v>65.723380700000007</c:v>
                </c:pt>
                <c:pt idx="433">
                  <c:v>66.740040399999998</c:v>
                </c:pt>
                <c:pt idx="434">
                  <c:v>71.370506199999994</c:v>
                </c:pt>
                <c:pt idx="435">
                  <c:v>78.761471399999991</c:v>
                </c:pt>
                <c:pt idx="436">
                  <c:v>86.625869400000013</c:v>
                </c:pt>
                <c:pt idx="437">
                  <c:v>96.769601800000004</c:v>
                </c:pt>
                <c:pt idx="438">
                  <c:v>109.0570275</c:v>
                </c:pt>
                <c:pt idx="439">
                  <c:v>123.1566038</c:v>
                </c:pt>
                <c:pt idx="440">
                  <c:v>132.5514364</c:v>
                </c:pt>
                <c:pt idx="441">
                  <c:v>128.5662427</c:v>
                </c:pt>
                <c:pt idx="442">
                  <c:v>132.76902709999999</c:v>
                </c:pt>
                <c:pt idx="443">
                  <c:v>145.18907300000001</c:v>
                </c:pt>
                <c:pt idx="444">
                  <c:v>163.736886</c:v>
                </c:pt>
                <c:pt idx="445">
                  <c:v>185.03728150000001</c:v>
                </c:pt>
                <c:pt idx="446">
                  <c:v>206.09200939999999</c:v>
                </c:pt>
                <c:pt idx="447">
                  <c:v>224.53704120000003</c:v>
                </c:pt>
                <c:pt idx="448">
                  <c:v>236.67115910000001</c:v>
                </c:pt>
                <c:pt idx="449">
                  <c:v>252.04221689999997</c:v>
                </c:pt>
                <c:pt idx="450">
                  <c:v>267.81680970000002</c:v>
                </c:pt>
                <c:pt idx="451">
                  <c:v>283.68641830000001</c:v>
                </c:pt>
                <c:pt idx="452">
                  <c:v>299.6197555</c:v>
                </c:pt>
                <c:pt idx="453">
                  <c:v>314.19686210000003</c:v>
                </c:pt>
                <c:pt idx="454">
                  <c:v>324.6934655</c:v>
                </c:pt>
                <c:pt idx="455">
                  <c:v>333.20464559999999</c:v>
                </c:pt>
                <c:pt idx="456">
                  <c:v>333.39760640000003</c:v>
                </c:pt>
                <c:pt idx="457">
                  <c:v>336.06617059999996</c:v>
                </c:pt>
                <c:pt idx="458">
                  <c:v>349.78913679999999</c:v>
                </c:pt>
                <c:pt idx="459">
                  <c:v>371.45808880000004</c:v>
                </c:pt>
                <c:pt idx="460">
                  <c:v>398.38348139999999</c:v>
                </c:pt>
                <c:pt idx="461">
                  <c:v>423.52358730000003</c:v>
                </c:pt>
                <c:pt idx="462">
                  <c:v>450.44802040000002</c:v>
                </c:pt>
                <c:pt idx="463">
                  <c:v>478.89294690000003</c:v>
                </c:pt>
                <c:pt idx="464">
                  <c:v>503.81605079999997</c:v>
                </c:pt>
                <c:pt idx="465">
                  <c:v>523.27285210000002</c:v>
                </c:pt>
                <c:pt idx="466">
                  <c:v>539.50915380000004</c:v>
                </c:pt>
                <c:pt idx="467">
                  <c:v>550.14060300000006</c:v>
                </c:pt>
                <c:pt idx="468">
                  <c:v>555.44195989999992</c:v>
                </c:pt>
                <c:pt idx="469">
                  <c:v>557.11904450000009</c:v>
                </c:pt>
                <c:pt idx="470">
                  <c:v>560.67959140000005</c:v>
                </c:pt>
                <c:pt idx="471">
                  <c:v>568.54948569999999</c:v>
                </c:pt>
                <c:pt idx="472">
                  <c:v>576.24481979999996</c:v>
                </c:pt>
                <c:pt idx="473">
                  <c:v>591.72079220000001</c:v>
                </c:pt>
                <c:pt idx="474">
                  <c:v>607.36674589999996</c:v>
                </c:pt>
                <c:pt idx="475">
                  <c:v>615.66964940000014</c:v>
                </c:pt>
                <c:pt idx="476">
                  <c:v>621.94315330000006</c:v>
                </c:pt>
                <c:pt idx="477">
                  <c:v>624.73682930000007</c:v>
                </c:pt>
                <c:pt idx="478">
                  <c:v>629.78739690000009</c:v>
                </c:pt>
                <c:pt idx="479">
                  <c:v>631.77454999999998</c:v>
                </c:pt>
                <c:pt idx="480">
                  <c:v>636.79907730000002</c:v>
                </c:pt>
                <c:pt idx="481">
                  <c:v>643.08765500000004</c:v>
                </c:pt>
                <c:pt idx="482">
                  <c:v>643.65640429999996</c:v>
                </c:pt>
                <c:pt idx="483">
                  <c:v>644.90712510000003</c:v>
                </c:pt>
                <c:pt idx="484">
                  <c:v>641.90834210000003</c:v>
                </c:pt>
                <c:pt idx="485">
                  <c:v>636.28981709999994</c:v>
                </c:pt>
                <c:pt idx="486">
                  <c:v>631.68410700000004</c:v>
                </c:pt>
                <c:pt idx="487">
                  <c:v>629.78851960000009</c:v>
                </c:pt>
                <c:pt idx="488">
                  <c:v>624.06496690000006</c:v>
                </c:pt>
                <c:pt idx="489">
                  <c:v>620.0546253</c:v>
                </c:pt>
                <c:pt idx="490">
                  <c:v>616.81789270000002</c:v>
                </c:pt>
                <c:pt idx="491">
                  <c:v>616.02750190000006</c:v>
                </c:pt>
                <c:pt idx="492">
                  <c:v>614.8303146999998</c:v>
                </c:pt>
                <c:pt idx="493">
                  <c:v>609.93049039999994</c:v>
                </c:pt>
                <c:pt idx="494">
                  <c:v>602.22811960000001</c:v>
                </c:pt>
                <c:pt idx="495">
                  <c:v>599.90015949999997</c:v>
                </c:pt>
                <c:pt idx="496">
                  <c:v>600.78771189999998</c:v>
                </c:pt>
                <c:pt idx="497">
                  <c:v>601.0842073</c:v>
                </c:pt>
                <c:pt idx="498">
                  <c:v>602.61233630000004</c:v>
                </c:pt>
                <c:pt idx="499">
                  <c:v>602.10558190000006</c:v>
                </c:pt>
                <c:pt idx="500">
                  <c:v>599.07644180000011</c:v>
                </c:pt>
                <c:pt idx="501">
                  <c:v>602.85093349999988</c:v>
                </c:pt>
                <c:pt idx="502">
                  <c:v>614.89818160000004</c:v>
                </c:pt>
                <c:pt idx="503">
                  <c:v>611.03835539999989</c:v>
                </c:pt>
                <c:pt idx="504">
                  <c:v>592.82194679999998</c:v>
                </c:pt>
                <c:pt idx="505">
                  <c:v>566.61814980000008</c:v>
                </c:pt>
                <c:pt idx="506">
                  <c:v>537.96551420000003</c:v>
                </c:pt>
                <c:pt idx="507">
                  <c:v>507.50346929999995</c:v>
                </c:pt>
                <c:pt idx="508">
                  <c:v>478.87718080000002</c:v>
                </c:pt>
                <c:pt idx="509">
                  <c:v>451.37573270000001</c:v>
                </c:pt>
                <c:pt idx="510">
                  <c:v>425.0500565000001</c:v>
                </c:pt>
                <c:pt idx="511">
                  <c:v>398.71097040000001</c:v>
                </c:pt>
                <c:pt idx="512">
                  <c:v>373.22057960000001</c:v>
                </c:pt>
                <c:pt idx="513">
                  <c:v>342.71879849999999</c:v>
                </c:pt>
                <c:pt idx="514">
                  <c:v>303.47326900000002</c:v>
                </c:pt>
                <c:pt idx="515">
                  <c:v>259.2213261</c:v>
                </c:pt>
                <c:pt idx="516">
                  <c:v>216.07060749999999</c:v>
                </c:pt>
                <c:pt idx="517">
                  <c:v>180.67220159999999</c:v>
                </c:pt>
                <c:pt idx="518">
                  <c:v>149.22964550000003</c:v>
                </c:pt>
                <c:pt idx="519">
                  <c:v>120.98644550000002</c:v>
                </c:pt>
                <c:pt idx="520">
                  <c:v>96.371187700000007</c:v>
                </c:pt>
                <c:pt idx="521">
                  <c:v>76.360293899999988</c:v>
                </c:pt>
                <c:pt idx="522">
                  <c:v>59.366631699999999</c:v>
                </c:pt>
                <c:pt idx="523">
                  <c:v>45.633626400000004</c:v>
                </c:pt>
                <c:pt idx="524">
                  <c:v>34.758889699999997</c:v>
                </c:pt>
                <c:pt idx="525">
                  <c:v>26.435117699999999</c:v>
                </c:pt>
                <c:pt idx="526">
                  <c:v>19.641222499999998</c:v>
                </c:pt>
                <c:pt idx="527">
                  <c:v>15.583784399999999</c:v>
                </c:pt>
                <c:pt idx="528">
                  <c:v>13.799022900000001</c:v>
                </c:pt>
                <c:pt idx="529">
                  <c:v>11.8895929</c:v>
                </c:pt>
                <c:pt idx="530">
                  <c:v>9.9178090000000001</c:v>
                </c:pt>
                <c:pt idx="531">
                  <c:v>13.089531700000002</c:v>
                </c:pt>
                <c:pt idx="532">
                  <c:v>16.985800699999999</c:v>
                </c:pt>
                <c:pt idx="533">
                  <c:v>19.719277099999999</c:v>
                </c:pt>
                <c:pt idx="534">
                  <c:v>21.3500935</c:v>
                </c:pt>
                <c:pt idx="535">
                  <c:v>22.847666199999999</c:v>
                </c:pt>
                <c:pt idx="536">
                  <c:v>24.6966319</c:v>
                </c:pt>
                <c:pt idx="537">
                  <c:v>26.504567399999999</c:v>
                </c:pt>
                <c:pt idx="538">
                  <c:v>26.6697086</c:v>
                </c:pt>
                <c:pt idx="539">
                  <c:v>26.329917399999999</c:v>
                </c:pt>
                <c:pt idx="540">
                  <c:v>25.953078000000001</c:v>
                </c:pt>
                <c:pt idx="541">
                  <c:v>25.352983200000001</c:v>
                </c:pt>
                <c:pt idx="542">
                  <c:v>24.952880099999998</c:v>
                </c:pt>
                <c:pt idx="543">
                  <c:v>25.001138599999997</c:v>
                </c:pt>
                <c:pt idx="544">
                  <c:v>25.404610099999999</c:v>
                </c:pt>
                <c:pt idx="545">
                  <c:v>25.267524399999999</c:v>
                </c:pt>
                <c:pt idx="546">
                  <c:v>26.3840331</c:v>
                </c:pt>
                <c:pt idx="547">
                  <c:v>28.341755999999997</c:v>
                </c:pt>
                <c:pt idx="548">
                  <c:v>30.354547099999998</c:v>
                </c:pt>
                <c:pt idx="549">
                  <c:v>31.742850500000003</c:v>
                </c:pt>
                <c:pt idx="550">
                  <c:v>31.9118435</c:v>
                </c:pt>
                <c:pt idx="551">
                  <c:v>31.686767500000002</c:v>
                </c:pt>
                <c:pt idx="552">
                  <c:v>31.199087900000002</c:v>
                </c:pt>
                <c:pt idx="553">
                  <c:v>30.523243900000001</c:v>
                </c:pt>
                <c:pt idx="554">
                  <c:v>30.187685399999999</c:v>
                </c:pt>
                <c:pt idx="555">
                  <c:v>31.764443499999999</c:v>
                </c:pt>
                <c:pt idx="556">
                  <c:v>34.859136000000007</c:v>
                </c:pt>
                <c:pt idx="557">
                  <c:v>39.574881599999998</c:v>
                </c:pt>
                <c:pt idx="558">
                  <c:v>44.9418553</c:v>
                </c:pt>
                <c:pt idx="559">
                  <c:v>49.510108899999999</c:v>
                </c:pt>
                <c:pt idx="560">
                  <c:v>53.470454200000006</c:v>
                </c:pt>
                <c:pt idx="561">
                  <c:v>56.408276700000002</c:v>
                </c:pt>
                <c:pt idx="562">
                  <c:v>59.683761699999998</c:v>
                </c:pt>
                <c:pt idx="563">
                  <c:v>63.895761999999998</c:v>
                </c:pt>
                <c:pt idx="564">
                  <c:v>66.922689899999995</c:v>
                </c:pt>
                <c:pt idx="565">
                  <c:v>69.259103699999997</c:v>
                </c:pt>
                <c:pt idx="566">
                  <c:v>70.412590100000003</c:v>
                </c:pt>
                <c:pt idx="567">
                  <c:v>70.487239899999992</c:v>
                </c:pt>
                <c:pt idx="568">
                  <c:v>69.3955591</c:v>
                </c:pt>
                <c:pt idx="569">
                  <c:v>69.236710700000003</c:v>
                </c:pt>
                <c:pt idx="570">
                  <c:v>70.132430999999997</c:v>
                </c:pt>
                <c:pt idx="571">
                  <c:v>69.395152899999999</c:v>
                </c:pt>
                <c:pt idx="572">
                  <c:v>67.783342599999997</c:v>
                </c:pt>
                <c:pt idx="573">
                  <c:v>63.741042899999997</c:v>
                </c:pt>
                <c:pt idx="574">
                  <c:v>57.535161699999996</c:v>
                </c:pt>
                <c:pt idx="575">
                  <c:v>50.452033700000001</c:v>
                </c:pt>
                <c:pt idx="576">
                  <c:v>43.292690200000003</c:v>
                </c:pt>
                <c:pt idx="577">
                  <c:v>36.906767299999998</c:v>
                </c:pt>
                <c:pt idx="578">
                  <c:v>31.798277200000001</c:v>
                </c:pt>
                <c:pt idx="579">
                  <c:v>27.511172999999999</c:v>
                </c:pt>
                <c:pt idx="580">
                  <c:v>23.966669799999998</c:v>
                </c:pt>
                <c:pt idx="581">
                  <c:v>21.115328900000002</c:v>
                </c:pt>
                <c:pt idx="582">
                  <c:v>19.118001499999998</c:v>
                </c:pt>
                <c:pt idx="583">
                  <c:v>18.250861700000002</c:v>
                </c:pt>
                <c:pt idx="584">
                  <c:v>17.316854299999999</c:v>
                </c:pt>
                <c:pt idx="585">
                  <c:v>16.8429219</c:v>
                </c:pt>
                <c:pt idx="586">
                  <c:v>16.384134499999998</c:v>
                </c:pt>
                <c:pt idx="587">
                  <c:v>16.1111811</c:v>
                </c:pt>
                <c:pt idx="588">
                  <c:v>16.087579699999999</c:v>
                </c:pt>
                <c:pt idx="589">
                  <c:v>15.9440765</c:v>
                </c:pt>
                <c:pt idx="590">
                  <c:v>15.3382904</c:v>
                </c:pt>
                <c:pt idx="591">
                  <c:v>14.661674900000001</c:v>
                </c:pt>
                <c:pt idx="592">
                  <c:v>13.8976048</c:v>
                </c:pt>
                <c:pt idx="593">
                  <c:v>13.238212799999999</c:v>
                </c:pt>
                <c:pt idx="594">
                  <c:v>12.238722000000001</c:v>
                </c:pt>
                <c:pt idx="595">
                  <c:v>11.0645337</c:v>
                </c:pt>
                <c:pt idx="596">
                  <c:v>10.039481500000001</c:v>
                </c:pt>
                <c:pt idx="597">
                  <c:v>9.316475500000001</c:v>
                </c:pt>
                <c:pt idx="598">
                  <c:v>8.6049328999999997</c:v>
                </c:pt>
                <c:pt idx="599">
                  <c:v>8.1204312999999999</c:v>
                </c:pt>
                <c:pt idx="600">
                  <c:v>7.7816935000000003</c:v>
                </c:pt>
                <c:pt idx="601">
                  <c:v>7.5304061999999998</c:v>
                </c:pt>
                <c:pt idx="602">
                  <c:v>7.3443962999999997</c:v>
                </c:pt>
                <c:pt idx="603">
                  <c:v>7.1492500000000003</c:v>
                </c:pt>
                <c:pt idx="604">
                  <c:v>6.9964911999999995</c:v>
                </c:pt>
                <c:pt idx="605">
                  <c:v>7.6466595000000002</c:v>
                </c:pt>
                <c:pt idx="606">
                  <c:v>8.7851257999999994</c:v>
                </c:pt>
                <c:pt idx="607">
                  <c:v>9.9200113999999999</c:v>
                </c:pt>
                <c:pt idx="608">
                  <c:v>11.107602400000001</c:v>
                </c:pt>
                <c:pt idx="609">
                  <c:v>12.458136700000001</c:v>
                </c:pt>
                <c:pt idx="610">
                  <c:v>13.680220299999998</c:v>
                </c:pt>
                <c:pt idx="611">
                  <c:v>14.4237368</c:v>
                </c:pt>
                <c:pt idx="612">
                  <c:v>14.560316699999998</c:v>
                </c:pt>
                <c:pt idx="613">
                  <c:v>14.396930100000001</c:v>
                </c:pt>
                <c:pt idx="614">
                  <c:v>15.9857593</c:v>
                </c:pt>
                <c:pt idx="615">
                  <c:v>19.329336300000001</c:v>
                </c:pt>
                <c:pt idx="616">
                  <c:v>21.014507699999999</c:v>
                </c:pt>
                <c:pt idx="617">
                  <c:v>21.892723099999998</c:v>
                </c:pt>
                <c:pt idx="618">
                  <c:v>22.5608355</c:v>
                </c:pt>
                <c:pt idx="619">
                  <c:v>23.497958300000001</c:v>
                </c:pt>
                <c:pt idx="620">
                  <c:v>24.8003824</c:v>
                </c:pt>
                <c:pt idx="621">
                  <c:v>26.391555099999998</c:v>
                </c:pt>
                <c:pt idx="622">
                  <c:v>27.099566299999999</c:v>
                </c:pt>
                <c:pt idx="623">
                  <c:v>27.1756472</c:v>
                </c:pt>
                <c:pt idx="624">
                  <c:v>26.9269155</c:v>
                </c:pt>
                <c:pt idx="625">
                  <c:v>26.4385844</c:v>
                </c:pt>
                <c:pt idx="626">
                  <c:v>25.790029799999999</c:v>
                </c:pt>
                <c:pt idx="627">
                  <c:v>25.514731700000002</c:v>
                </c:pt>
                <c:pt idx="628">
                  <c:v>25.532556400000001</c:v>
                </c:pt>
                <c:pt idx="629">
                  <c:v>25.404262299999999</c:v>
                </c:pt>
                <c:pt idx="630">
                  <c:v>25.067552999999997</c:v>
                </c:pt>
                <c:pt idx="631">
                  <c:v>24.826597500000002</c:v>
                </c:pt>
                <c:pt idx="632">
                  <c:v>25.141097200000001</c:v>
                </c:pt>
                <c:pt idx="633">
                  <c:v>26.617182200000002</c:v>
                </c:pt>
                <c:pt idx="634">
                  <c:v>28.644752100000002</c:v>
                </c:pt>
                <c:pt idx="635">
                  <c:v>30.863789400000002</c:v>
                </c:pt>
                <c:pt idx="636">
                  <c:v>34.123473199999999</c:v>
                </c:pt>
                <c:pt idx="637">
                  <c:v>38.529372199999997</c:v>
                </c:pt>
                <c:pt idx="638">
                  <c:v>41.553138599999997</c:v>
                </c:pt>
                <c:pt idx="639">
                  <c:v>43.2258426</c:v>
                </c:pt>
                <c:pt idx="640">
                  <c:v>44.849293099999997</c:v>
                </c:pt>
                <c:pt idx="641">
                  <c:v>46.4409177</c:v>
                </c:pt>
                <c:pt idx="642">
                  <c:v>47.7147255</c:v>
                </c:pt>
                <c:pt idx="643">
                  <c:v>47.8833026</c:v>
                </c:pt>
                <c:pt idx="644">
                  <c:v>47.441936299999995</c:v>
                </c:pt>
                <c:pt idx="645">
                  <c:v>46.598766900000001</c:v>
                </c:pt>
                <c:pt idx="646">
                  <c:v>45.628260599999997</c:v>
                </c:pt>
                <c:pt idx="647">
                  <c:v>44.4196934</c:v>
                </c:pt>
                <c:pt idx="648">
                  <c:v>43.999358399999998</c:v>
                </c:pt>
                <c:pt idx="649">
                  <c:v>44.16863</c:v>
                </c:pt>
                <c:pt idx="650">
                  <c:v>44.476451900000001</c:v>
                </c:pt>
                <c:pt idx="651">
                  <c:v>44.537964799999997</c:v>
                </c:pt>
                <c:pt idx="652">
                  <c:v>44.324058000000001</c:v>
                </c:pt>
                <c:pt idx="653">
                  <c:v>44.128524900000002</c:v>
                </c:pt>
                <c:pt idx="654">
                  <c:v>43.5453191</c:v>
                </c:pt>
                <c:pt idx="655">
                  <c:v>43.034960100000006</c:v>
                </c:pt>
                <c:pt idx="656">
                  <c:v>42.4708878</c:v>
                </c:pt>
                <c:pt idx="657">
                  <c:v>41.825865800000003</c:v>
                </c:pt>
                <c:pt idx="658">
                  <c:v>41.157806800000003</c:v>
                </c:pt>
                <c:pt idx="659">
                  <c:v>40.600214199999996</c:v>
                </c:pt>
                <c:pt idx="660">
                  <c:v>40.857705399999993</c:v>
                </c:pt>
                <c:pt idx="661">
                  <c:v>42.065112200000009</c:v>
                </c:pt>
                <c:pt idx="662">
                  <c:v>45.059967999999998</c:v>
                </c:pt>
                <c:pt idx="663">
                  <c:v>49.014513399999998</c:v>
                </c:pt>
                <c:pt idx="664">
                  <c:v>51.877134099999999</c:v>
                </c:pt>
                <c:pt idx="665">
                  <c:v>54.487467000000002</c:v>
                </c:pt>
                <c:pt idx="666">
                  <c:v>56.248825799999999</c:v>
                </c:pt>
                <c:pt idx="667">
                  <c:v>56.768544500000004</c:v>
                </c:pt>
                <c:pt idx="668">
                  <c:v>56.6027567</c:v>
                </c:pt>
                <c:pt idx="669">
                  <c:v>56.3966894</c:v>
                </c:pt>
                <c:pt idx="670">
                  <c:v>56.073472699999996</c:v>
                </c:pt>
                <c:pt idx="671">
                  <c:v>55.561798500000002</c:v>
                </c:pt>
                <c:pt idx="672">
                  <c:v>54.894862799999999</c:v>
                </c:pt>
                <c:pt idx="673">
                  <c:v>53.729447599999993</c:v>
                </c:pt>
                <c:pt idx="674">
                  <c:v>52.435369299999991</c:v>
                </c:pt>
                <c:pt idx="675">
                  <c:v>52.473339600000003</c:v>
                </c:pt>
                <c:pt idx="676">
                  <c:v>54.533102099999994</c:v>
                </c:pt>
                <c:pt idx="677">
                  <c:v>57.241267800000003</c:v>
                </c:pt>
                <c:pt idx="678">
                  <c:v>59.399996299999998</c:v>
                </c:pt>
                <c:pt idx="679">
                  <c:v>62.103221900000001</c:v>
                </c:pt>
                <c:pt idx="680">
                  <c:v>66.372206500000004</c:v>
                </c:pt>
                <c:pt idx="681">
                  <c:v>71.719986399999996</c:v>
                </c:pt>
                <c:pt idx="682">
                  <c:v>77.838307100000009</c:v>
                </c:pt>
                <c:pt idx="683">
                  <c:v>83.952715900000001</c:v>
                </c:pt>
                <c:pt idx="684">
                  <c:v>89.509519800000007</c:v>
                </c:pt>
                <c:pt idx="685">
                  <c:v>94.019044499999993</c:v>
                </c:pt>
                <c:pt idx="686">
                  <c:v>98.039093800000003</c:v>
                </c:pt>
                <c:pt idx="687">
                  <c:v>101.29578549999999</c:v>
                </c:pt>
                <c:pt idx="688">
                  <c:v>104.11375220000001</c:v>
                </c:pt>
                <c:pt idx="689">
                  <c:v>106.17913970000001</c:v>
                </c:pt>
                <c:pt idx="690">
                  <c:v>108.13576139999999</c:v>
                </c:pt>
                <c:pt idx="691">
                  <c:v>110.937395</c:v>
                </c:pt>
                <c:pt idx="692">
                  <c:v>114.2788604</c:v>
                </c:pt>
                <c:pt idx="693">
                  <c:v>116.01693179999999</c:v>
                </c:pt>
                <c:pt idx="694">
                  <c:v>116.0106952</c:v>
                </c:pt>
                <c:pt idx="695">
                  <c:v>115.147751</c:v>
                </c:pt>
                <c:pt idx="696">
                  <c:v>114.28736889999999</c:v>
                </c:pt>
                <c:pt idx="697">
                  <c:v>114.6846745</c:v>
                </c:pt>
                <c:pt idx="698">
                  <c:v>115.84169840000001</c:v>
                </c:pt>
                <c:pt idx="699">
                  <c:v>117.5443679</c:v>
                </c:pt>
                <c:pt idx="700">
                  <c:v>119.34346210000001</c:v>
                </c:pt>
                <c:pt idx="701">
                  <c:v>121.09422739999999</c:v>
                </c:pt>
                <c:pt idx="702">
                  <c:v>123.3915499</c:v>
                </c:pt>
                <c:pt idx="703">
                  <c:v>125.70053679999999</c:v>
                </c:pt>
                <c:pt idx="704">
                  <c:v>128.769598</c:v>
                </c:pt>
                <c:pt idx="705">
                  <c:v>132.4249279</c:v>
                </c:pt>
                <c:pt idx="706">
                  <c:v>138.7055512</c:v>
                </c:pt>
                <c:pt idx="707">
                  <c:v>146.06864210000001</c:v>
                </c:pt>
                <c:pt idx="708">
                  <c:v>155.5345982</c:v>
                </c:pt>
                <c:pt idx="709">
                  <c:v>166.2368261</c:v>
                </c:pt>
                <c:pt idx="710">
                  <c:v>177.2442829</c:v>
                </c:pt>
                <c:pt idx="711">
                  <c:v>188.58989440000002</c:v>
                </c:pt>
                <c:pt idx="712">
                  <c:v>200.99021569999999</c:v>
                </c:pt>
                <c:pt idx="713">
                  <c:v>213.02939750000002</c:v>
                </c:pt>
                <c:pt idx="714">
                  <c:v>224.0621108</c:v>
                </c:pt>
                <c:pt idx="715">
                  <c:v>232.7236145</c:v>
                </c:pt>
                <c:pt idx="716">
                  <c:v>238.09658259999998</c:v>
                </c:pt>
                <c:pt idx="717">
                  <c:v>241.01954620000001</c:v>
                </c:pt>
                <c:pt idx="718">
                  <c:v>248.9325302</c:v>
                </c:pt>
                <c:pt idx="719">
                  <c:v>259.64476550000001</c:v>
                </c:pt>
                <c:pt idx="720">
                  <c:v>271.02929470000004</c:v>
                </c:pt>
                <c:pt idx="721">
                  <c:v>276.91618969999996</c:v>
                </c:pt>
                <c:pt idx="722">
                  <c:v>277.68393859999998</c:v>
                </c:pt>
                <c:pt idx="723">
                  <c:v>276.46706930000005</c:v>
                </c:pt>
                <c:pt idx="724">
                  <c:v>274.71000049999998</c:v>
                </c:pt>
                <c:pt idx="725">
                  <c:v>272.23201330000001</c:v>
                </c:pt>
                <c:pt idx="726">
                  <c:v>268.07488709999996</c:v>
                </c:pt>
                <c:pt idx="727">
                  <c:v>265.69721099999998</c:v>
                </c:pt>
                <c:pt idx="728">
                  <c:v>265.69306699999999</c:v>
                </c:pt>
                <c:pt idx="729">
                  <c:v>267.40728200000001</c:v>
                </c:pt>
                <c:pt idx="730">
                  <c:v>266.20185350000003</c:v>
                </c:pt>
                <c:pt idx="731">
                  <c:v>262.61111340000002</c:v>
                </c:pt>
                <c:pt idx="732">
                  <c:v>258.27081809999999</c:v>
                </c:pt>
                <c:pt idx="733">
                  <c:v>253.6888538</c:v>
                </c:pt>
                <c:pt idx="734">
                  <c:v>248.3737792</c:v>
                </c:pt>
                <c:pt idx="735">
                  <c:v>243.06929909999999</c:v>
                </c:pt>
                <c:pt idx="736">
                  <c:v>236.43501150000003</c:v>
                </c:pt>
                <c:pt idx="737">
                  <c:v>230.11630479999999</c:v>
                </c:pt>
                <c:pt idx="738">
                  <c:v>224.78174660000002</c:v>
                </c:pt>
                <c:pt idx="739">
                  <c:v>220.4761599</c:v>
                </c:pt>
                <c:pt idx="740">
                  <c:v>217.81776919999999</c:v>
                </c:pt>
                <c:pt idx="741">
                  <c:v>216.57626540000001</c:v>
                </c:pt>
                <c:pt idx="742">
                  <c:v>214.4113926</c:v>
                </c:pt>
                <c:pt idx="743">
                  <c:v>210.61574859999999</c:v>
                </c:pt>
                <c:pt idx="744">
                  <c:v>207.67362979999999</c:v>
                </c:pt>
                <c:pt idx="745">
                  <c:v>206.04565650000001</c:v>
                </c:pt>
                <c:pt idx="746">
                  <c:v>206.80153180000002</c:v>
                </c:pt>
                <c:pt idx="747">
                  <c:v>209.27247180000001</c:v>
                </c:pt>
                <c:pt idx="748">
                  <c:v>212.5834595</c:v>
                </c:pt>
                <c:pt idx="749">
                  <c:v>214.49535709999998</c:v>
                </c:pt>
                <c:pt idx="750">
                  <c:v>214.97273190000001</c:v>
                </c:pt>
                <c:pt idx="751">
                  <c:v>212.55388669999999</c:v>
                </c:pt>
                <c:pt idx="752">
                  <c:v>208.40486770000001</c:v>
                </c:pt>
                <c:pt idx="753">
                  <c:v>204.82995310000001</c:v>
                </c:pt>
                <c:pt idx="754">
                  <c:v>202.57515319999999</c:v>
                </c:pt>
                <c:pt idx="755">
                  <c:v>201.31907770000001</c:v>
                </c:pt>
                <c:pt idx="756">
                  <c:v>201.07144929999998</c:v>
                </c:pt>
                <c:pt idx="757">
                  <c:v>200.4796016</c:v>
                </c:pt>
                <c:pt idx="758">
                  <c:v>201.60544820000001</c:v>
                </c:pt>
                <c:pt idx="759">
                  <c:v>201.66045270000001</c:v>
                </c:pt>
                <c:pt idx="760">
                  <c:v>202.4652547</c:v>
                </c:pt>
                <c:pt idx="761">
                  <c:v>203.01916420000001</c:v>
                </c:pt>
                <c:pt idx="762">
                  <c:v>206.7532076</c:v>
                </c:pt>
                <c:pt idx="763">
                  <c:v>212.10637990000001</c:v>
                </c:pt>
                <c:pt idx="764">
                  <c:v>216.51678029999999</c:v>
                </c:pt>
                <c:pt idx="765">
                  <c:v>219.744439</c:v>
                </c:pt>
                <c:pt idx="766">
                  <c:v>223.5751143</c:v>
                </c:pt>
                <c:pt idx="767">
                  <c:v>228.30465619999998</c:v>
                </c:pt>
                <c:pt idx="768">
                  <c:v>233.13095289999998</c:v>
                </c:pt>
                <c:pt idx="769">
                  <c:v>238.85268649999998</c:v>
                </c:pt>
                <c:pt idx="770">
                  <c:v>246.5381692</c:v>
                </c:pt>
                <c:pt idx="771">
                  <c:v>253.56297710000001</c:v>
                </c:pt>
                <c:pt idx="772">
                  <c:v>258.75129700000002</c:v>
                </c:pt>
                <c:pt idx="773">
                  <c:v>262.34931920000002</c:v>
                </c:pt>
                <c:pt idx="774">
                  <c:v>266.65387290000001</c:v>
                </c:pt>
                <c:pt idx="775">
                  <c:v>271.04361569999998</c:v>
                </c:pt>
                <c:pt idx="776">
                  <c:v>272.55790350000001</c:v>
                </c:pt>
                <c:pt idx="777">
                  <c:v>272.3154558</c:v>
                </c:pt>
                <c:pt idx="778">
                  <c:v>270.2545806</c:v>
                </c:pt>
                <c:pt idx="779">
                  <c:v>265.63395850000001</c:v>
                </c:pt>
                <c:pt idx="780">
                  <c:v>259.67865720000003</c:v>
                </c:pt>
                <c:pt idx="781">
                  <c:v>254.567025</c:v>
                </c:pt>
                <c:pt idx="782">
                  <c:v>251.52038110000001</c:v>
                </c:pt>
                <c:pt idx="783">
                  <c:v>249.7744577</c:v>
                </c:pt>
                <c:pt idx="784">
                  <c:v>248.77194509999998</c:v>
                </c:pt>
                <c:pt idx="785">
                  <c:v>247.17597940000002</c:v>
                </c:pt>
                <c:pt idx="786">
                  <c:v>245.30747400000001</c:v>
                </c:pt>
                <c:pt idx="787">
                  <c:v>244.30219069999998</c:v>
                </c:pt>
                <c:pt idx="788">
                  <c:v>246.33903700000002</c:v>
                </c:pt>
                <c:pt idx="789">
                  <c:v>249.16153880000002</c:v>
                </c:pt>
                <c:pt idx="790">
                  <c:v>253.47333860000003</c:v>
                </c:pt>
                <c:pt idx="791">
                  <c:v>256.28360959999998</c:v>
                </c:pt>
                <c:pt idx="792">
                  <c:v>258.56454560000003</c:v>
                </c:pt>
                <c:pt idx="793">
                  <c:v>261.41386350000005</c:v>
                </c:pt>
                <c:pt idx="794">
                  <c:v>263.74195839999999</c:v>
                </c:pt>
                <c:pt idx="795">
                  <c:v>266.01243189999997</c:v>
                </c:pt>
                <c:pt idx="796">
                  <c:v>267.73506470000001</c:v>
                </c:pt>
                <c:pt idx="797">
                  <c:v>269.46585270000003</c:v>
                </c:pt>
                <c:pt idx="798">
                  <c:v>267.7186135</c:v>
                </c:pt>
                <c:pt idx="799">
                  <c:v>261.2554829</c:v>
                </c:pt>
                <c:pt idx="800">
                  <c:v>251.28845710000002</c:v>
                </c:pt>
                <c:pt idx="801">
                  <c:v>239.97936669999999</c:v>
                </c:pt>
                <c:pt idx="802">
                  <c:v>228.59352269999999</c:v>
                </c:pt>
                <c:pt idx="803">
                  <c:v>218.17770710000002</c:v>
                </c:pt>
                <c:pt idx="804">
                  <c:v>207.95947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80-4D44-B5FB-C7344E7BB008}"/>
            </c:ext>
          </c:extLst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Google</c:v>
                </c:pt>
              </c:strCache>
            </c:strRef>
          </c:tx>
          <c:spPr>
            <a:solidFill>
              <a:schemeClr val="accent4">
                <a:lumMod val="50000"/>
              </a:schemeClr>
            </a:solidFill>
            <a:ln w="12700">
              <a:solidFill>
                <a:schemeClr val="accent4">
                  <a:lumMod val="50000"/>
                </a:schemeClr>
              </a:solidFill>
            </a:ln>
            <a:effectLst/>
          </c:spPr>
          <c:invertIfNegative val="0"/>
          <c:cat>
            <c:numRef>
              <c:f>Sheet1!$A$2:$A$806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K$2:$K$806</c:f>
              <c:numCache>
                <c:formatCode>#,##0</c:formatCode>
                <c:ptCount val="805"/>
                <c:pt idx="0">
                  <c:v>44.719670499999999</c:v>
                </c:pt>
                <c:pt idx="1">
                  <c:v>123.5089492</c:v>
                </c:pt>
                <c:pt idx="2">
                  <c:v>210.00602499999999</c:v>
                </c:pt>
                <c:pt idx="3">
                  <c:v>354.95405870000002</c:v>
                </c:pt>
                <c:pt idx="4">
                  <c:v>455.5767644</c:v>
                </c:pt>
                <c:pt idx="5">
                  <c:v>518.64029400000004</c:v>
                </c:pt>
                <c:pt idx="6">
                  <c:v>564.65766169999995</c:v>
                </c:pt>
                <c:pt idx="7">
                  <c:v>565.25534189999996</c:v>
                </c:pt>
                <c:pt idx="8">
                  <c:v>534.83221099999992</c:v>
                </c:pt>
                <c:pt idx="9">
                  <c:v>490.51618570000005</c:v>
                </c:pt>
                <c:pt idx="10">
                  <c:v>441.6317482</c:v>
                </c:pt>
                <c:pt idx="11">
                  <c:v>392.90597330000003</c:v>
                </c:pt>
                <c:pt idx="12">
                  <c:v>347.93961019999995</c:v>
                </c:pt>
                <c:pt idx="13">
                  <c:v>308.54054209999998</c:v>
                </c:pt>
                <c:pt idx="14">
                  <c:v>263.58104479999997</c:v>
                </c:pt>
                <c:pt idx="15">
                  <c:v>222.45855779999999</c:v>
                </c:pt>
                <c:pt idx="16">
                  <c:v>188.64456509999999</c:v>
                </c:pt>
                <c:pt idx="17">
                  <c:v>146.50139569999999</c:v>
                </c:pt>
                <c:pt idx="18">
                  <c:v>125.73289729999999</c:v>
                </c:pt>
                <c:pt idx="19">
                  <c:v>108.8848907</c:v>
                </c:pt>
                <c:pt idx="20">
                  <c:v>94.0687906</c:v>
                </c:pt>
                <c:pt idx="21">
                  <c:v>91.762571800000003</c:v>
                </c:pt>
                <c:pt idx="22">
                  <c:v>92.443197400000003</c:v>
                </c:pt>
                <c:pt idx="23">
                  <c:v>92.490632599999998</c:v>
                </c:pt>
                <c:pt idx="24">
                  <c:v>92.904599899999994</c:v>
                </c:pt>
                <c:pt idx="25">
                  <c:v>119.09380089999999</c:v>
                </c:pt>
                <c:pt idx="26">
                  <c:v>132.47804909999999</c:v>
                </c:pt>
                <c:pt idx="27">
                  <c:v>167.87173720000001</c:v>
                </c:pt>
                <c:pt idx="28">
                  <c:v>192.28661919999999</c:v>
                </c:pt>
                <c:pt idx="29">
                  <c:v>206.72791570000001</c:v>
                </c:pt>
                <c:pt idx="30">
                  <c:v>216.27854840000001</c:v>
                </c:pt>
                <c:pt idx="31">
                  <c:v>219.63178060000001</c:v>
                </c:pt>
                <c:pt idx="32">
                  <c:v>215.60344240000001</c:v>
                </c:pt>
                <c:pt idx="33">
                  <c:v>209.1500446</c:v>
                </c:pt>
                <c:pt idx="34">
                  <c:v>199.00116299999999</c:v>
                </c:pt>
                <c:pt idx="35">
                  <c:v>189.06780660000001</c:v>
                </c:pt>
                <c:pt idx="36">
                  <c:v>181.6909373</c:v>
                </c:pt>
                <c:pt idx="37">
                  <c:v>176.68022629999999</c:v>
                </c:pt>
                <c:pt idx="38">
                  <c:v>169.42556380000002</c:v>
                </c:pt>
                <c:pt idx="39">
                  <c:v>160.16901039999999</c:v>
                </c:pt>
                <c:pt idx="40">
                  <c:v>160.06664169999999</c:v>
                </c:pt>
                <c:pt idx="41">
                  <c:v>152.15593920000001</c:v>
                </c:pt>
                <c:pt idx="42">
                  <c:v>150.53767570000002</c:v>
                </c:pt>
                <c:pt idx="43">
                  <c:v>152.7637474</c:v>
                </c:pt>
                <c:pt idx="44">
                  <c:v>152.43916250000001</c:v>
                </c:pt>
                <c:pt idx="45">
                  <c:v>152.11366659999999</c:v>
                </c:pt>
                <c:pt idx="46">
                  <c:v>150.7151763</c:v>
                </c:pt>
                <c:pt idx="47">
                  <c:v>145.5845616</c:v>
                </c:pt>
                <c:pt idx="48">
                  <c:v>141.09333699999999</c:v>
                </c:pt>
                <c:pt idx="49">
                  <c:v>136.71440490000001</c:v>
                </c:pt>
                <c:pt idx="50">
                  <c:v>132.9126732</c:v>
                </c:pt>
                <c:pt idx="51">
                  <c:v>133.4261836</c:v>
                </c:pt>
                <c:pt idx="52">
                  <c:v>137.2566439</c:v>
                </c:pt>
                <c:pt idx="53">
                  <c:v>138.03659450000001</c:v>
                </c:pt>
                <c:pt idx="54">
                  <c:v>139.8779945</c:v>
                </c:pt>
                <c:pt idx="55">
                  <c:v>143.69379480000001</c:v>
                </c:pt>
                <c:pt idx="56">
                  <c:v>155.6817442</c:v>
                </c:pt>
                <c:pt idx="57">
                  <c:v>169.0214009</c:v>
                </c:pt>
                <c:pt idx="58">
                  <c:v>186.1401692</c:v>
                </c:pt>
                <c:pt idx="59">
                  <c:v>207.71759880000002</c:v>
                </c:pt>
                <c:pt idx="60">
                  <c:v>229.1122474</c:v>
                </c:pt>
                <c:pt idx="61">
                  <c:v>243.07969270000001</c:v>
                </c:pt>
                <c:pt idx="62">
                  <c:v>250.20138850000001</c:v>
                </c:pt>
                <c:pt idx="63">
                  <c:v>252.94494090000001</c:v>
                </c:pt>
                <c:pt idx="64">
                  <c:v>254.2944377</c:v>
                </c:pt>
                <c:pt idx="65">
                  <c:v>252.75046979999999</c:v>
                </c:pt>
                <c:pt idx="66">
                  <c:v>251.91327620000001</c:v>
                </c:pt>
                <c:pt idx="67">
                  <c:v>250.3087539</c:v>
                </c:pt>
                <c:pt idx="68">
                  <c:v>247.7674385</c:v>
                </c:pt>
                <c:pt idx="69">
                  <c:v>245.40859999999998</c:v>
                </c:pt>
                <c:pt idx="70">
                  <c:v>239.0539722</c:v>
                </c:pt>
                <c:pt idx="71">
                  <c:v>235.23177519999999</c:v>
                </c:pt>
                <c:pt idx="72">
                  <c:v>230.5695316</c:v>
                </c:pt>
                <c:pt idx="73">
                  <c:v>223.85592270000001</c:v>
                </c:pt>
                <c:pt idx="74">
                  <c:v>215.43073390000001</c:v>
                </c:pt>
                <c:pt idx="75">
                  <c:v>207.93807609999999</c:v>
                </c:pt>
                <c:pt idx="76">
                  <c:v>201.0953275</c:v>
                </c:pt>
                <c:pt idx="77">
                  <c:v>194.77834249999998</c:v>
                </c:pt>
                <c:pt idx="78">
                  <c:v>189.2808799</c:v>
                </c:pt>
                <c:pt idx="79">
                  <c:v>183.33871780000001</c:v>
                </c:pt>
                <c:pt idx="80">
                  <c:v>178.1255108</c:v>
                </c:pt>
                <c:pt idx="81">
                  <c:v>174.20193230000001</c:v>
                </c:pt>
                <c:pt idx="82">
                  <c:v>171.4661638</c:v>
                </c:pt>
                <c:pt idx="83">
                  <c:v>170.69354050000001</c:v>
                </c:pt>
                <c:pt idx="84">
                  <c:v>169.98716480000002</c:v>
                </c:pt>
                <c:pt idx="85">
                  <c:v>171.64080469999999</c:v>
                </c:pt>
                <c:pt idx="86">
                  <c:v>178.71935830000001</c:v>
                </c:pt>
                <c:pt idx="87">
                  <c:v>184.46649810000002</c:v>
                </c:pt>
                <c:pt idx="88">
                  <c:v>189.37557409999999</c:v>
                </c:pt>
                <c:pt idx="89">
                  <c:v>192.9287066</c:v>
                </c:pt>
                <c:pt idx="90">
                  <c:v>195.29323970000002</c:v>
                </c:pt>
                <c:pt idx="91">
                  <c:v>197.0881996</c:v>
                </c:pt>
                <c:pt idx="92">
                  <c:v>199.97968539999999</c:v>
                </c:pt>
                <c:pt idx="93">
                  <c:v>203.4727206</c:v>
                </c:pt>
                <c:pt idx="94">
                  <c:v>204.1993894</c:v>
                </c:pt>
                <c:pt idx="95">
                  <c:v>203.688266</c:v>
                </c:pt>
                <c:pt idx="96">
                  <c:v>201.95022790000002</c:v>
                </c:pt>
                <c:pt idx="97">
                  <c:v>200.72321640000001</c:v>
                </c:pt>
                <c:pt idx="98">
                  <c:v>198.6507895</c:v>
                </c:pt>
                <c:pt idx="99">
                  <c:v>195.75626370000001</c:v>
                </c:pt>
                <c:pt idx="100">
                  <c:v>194.11427220000002</c:v>
                </c:pt>
                <c:pt idx="101">
                  <c:v>192.38799349999999</c:v>
                </c:pt>
                <c:pt idx="102">
                  <c:v>192.61089430000001</c:v>
                </c:pt>
                <c:pt idx="103">
                  <c:v>191.1605113</c:v>
                </c:pt>
                <c:pt idx="104">
                  <c:v>188.67530689999998</c:v>
                </c:pt>
                <c:pt idx="105">
                  <c:v>187.58618369999999</c:v>
                </c:pt>
                <c:pt idx="106">
                  <c:v>184.3653468</c:v>
                </c:pt>
                <c:pt idx="107">
                  <c:v>181.65916470000002</c:v>
                </c:pt>
                <c:pt idx="108">
                  <c:v>180.5751535</c:v>
                </c:pt>
                <c:pt idx="109">
                  <c:v>180.4256298</c:v>
                </c:pt>
                <c:pt idx="110">
                  <c:v>178.9611969</c:v>
                </c:pt>
                <c:pt idx="111">
                  <c:v>173.80214889999999</c:v>
                </c:pt>
                <c:pt idx="112">
                  <c:v>172.1160419</c:v>
                </c:pt>
                <c:pt idx="113">
                  <c:v>168.90761559999999</c:v>
                </c:pt>
                <c:pt idx="114">
                  <c:v>162.93967810000001</c:v>
                </c:pt>
                <c:pt idx="115">
                  <c:v>162.39551</c:v>
                </c:pt>
                <c:pt idx="116">
                  <c:v>166.20361589999999</c:v>
                </c:pt>
                <c:pt idx="117">
                  <c:v>172.9290149</c:v>
                </c:pt>
                <c:pt idx="118">
                  <c:v>178.94010850000001</c:v>
                </c:pt>
                <c:pt idx="119">
                  <c:v>181.50233600000001</c:v>
                </c:pt>
                <c:pt idx="120">
                  <c:v>181.01217030000001</c:v>
                </c:pt>
                <c:pt idx="121">
                  <c:v>179.18453919999999</c:v>
                </c:pt>
                <c:pt idx="122">
                  <c:v>182.33507940000001</c:v>
                </c:pt>
                <c:pt idx="123">
                  <c:v>190.2741618</c:v>
                </c:pt>
                <c:pt idx="124">
                  <c:v>200.2588982</c:v>
                </c:pt>
                <c:pt idx="125">
                  <c:v>208.28682179999998</c:v>
                </c:pt>
                <c:pt idx="126">
                  <c:v>210.57323840000001</c:v>
                </c:pt>
                <c:pt idx="127">
                  <c:v>209.4186934</c:v>
                </c:pt>
                <c:pt idx="128">
                  <c:v>205.82107059999998</c:v>
                </c:pt>
                <c:pt idx="129">
                  <c:v>200.00431959999997</c:v>
                </c:pt>
                <c:pt idx="130">
                  <c:v>194.9600389</c:v>
                </c:pt>
                <c:pt idx="131">
                  <c:v>191.2590252</c:v>
                </c:pt>
                <c:pt idx="132">
                  <c:v>193.10323300000002</c:v>
                </c:pt>
                <c:pt idx="133">
                  <c:v>198.5917048</c:v>
                </c:pt>
                <c:pt idx="134">
                  <c:v>206.86170099999998</c:v>
                </c:pt>
                <c:pt idx="135">
                  <c:v>214.48061250000001</c:v>
                </c:pt>
                <c:pt idx="136">
                  <c:v>218.02649400000001</c:v>
                </c:pt>
                <c:pt idx="137">
                  <c:v>223.38308560000002</c:v>
                </c:pt>
                <c:pt idx="138">
                  <c:v>229.28124309999998</c:v>
                </c:pt>
                <c:pt idx="139">
                  <c:v>233.7927115</c:v>
                </c:pt>
                <c:pt idx="140">
                  <c:v>235.2682896</c:v>
                </c:pt>
                <c:pt idx="141">
                  <c:v>236.06137200000001</c:v>
                </c:pt>
                <c:pt idx="142">
                  <c:v>235.04699219999998</c:v>
                </c:pt>
                <c:pt idx="143">
                  <c:v>236.18289730000001</c:v>
                </c:pt>
                <c:pt idx="144">
                  <c:v>233.83307689999998</c:v>
                </c:pt>
                <c:pt idx="145">
                  <c:v>232.7616592</c:v>
                </c:pt>
                <c:pt idx="146">
                  <c:v>232.90558390000001</c:v>
                </c:pt>
                <c:pt idx="147">
                  <c:v>232.842872</c:v>
                </c:pt>
                <c:pt idx="148">
                  <c:v>229.9901964</c:v>
                </c:pt>
                <c:pt idx="149">
                  <c:v>229.42965190000001</c:v>
                </c:pt>
                <c:pt idx="150">
                  <c:v>232.62521340000001</c:v>
                </c:pt>
                <c:pt idx="151">
                  <c:v>234.2114737</c:v>
                </c:pt>
                <c:pt idx="152">
                  <c:v>236.94034310000001</c:v>
                </c:pt>
                <c:pt idx="153">
                  <c:v>240.3539121</c:v>
                </c:pt>
                <c:pt idx="154">
                  <c:v>242.19212440000001</c:v>
                </c:pt>
                <c:pt idx="155">
                  <c:v>240.15673240000001</c:v>
                </c:pt>
                <c:pt idx="156">
                  <c:v>237.9535745</c:v>
                </c:pt>
                <c:pt idx="157">
                  <c:v>235.0755767</c:v>
                </c:pt>
                <c:pt idx="158">
                  <c:v>235.71833759999998</c:v>
                </c:pt>
                <c:pt idx="159">
                  <c:v>238.32470530000001</c:v>
                </c:pt>
                <c:pt idx="160">
                  <c:v>236.9575585</c:v>
                </c:pt>
                <c:pt idx="161">
                  <c:v>230.2069712</c:v>
                </c:pt>
                <c:pt idx="162">
                  <c:v>221.0974985</c:v>
                </c:pt>
                <c:pt idx="163">
                  <c:v>213.1290808</c:v>
                </c:pt>
                <c:pt idx="164">
                  <c:v>203.7916395</c:v>
                </c:pt>
                <c:pt idx="165">
                  <c:v>194.25153899999998</c:v>
                </c:pt>
                <c:pt idx="166">
                  <c:v>184.6092696</c:v>
                </c:pt>
                <c:pt idx="167">
                  <c:v>179.8221351</c:v>
                </c:pt>
                <c:pt idx="168">
                  <c:v>188.70766359999999</c:v>
                </c:pt>
                <c:pt idx="169">
                  <c:v>203.89585940000001</c:v>
                </c:pt>
                <c:pt idx="170">
                  <c:v>220.56621189999998</c:v>
                </c:pt>
                <c:pt idx="171">
                  <c:v>236.8270354</c:v>
                </c:pt>
                <c:pt idx="172">
                  <c:v>253.93467190000001</c:v>
                </c:pt>
                <c:pt idx="173">
                  <c:v>277.0734726</c:v>
                </c:pt>
                <c:pt idx="174">
                  <c:v>294.61610869999998</c:v>
                </c:pt>
                <c:pt idx="175">
                  <c:v>306.00516770000002</c:v>
                </c:pt>
                <c:pt idx="176">
                  <c:v>313.87063619999998</c:v>
                </c:pt>
                <c:pt idx="177">
                  <c:v>319.46142750000001</c:v>
                </c:pt>
                <c:pt idx="178">
                  <c:v>330.75796220000001</c:v>
                </c:pt>
                <c:pt idx="179">
                  <c:v>345.43978219999997</c:v>
                </c:pt>
                <c:pt idx="180">
                  <c:v>358.02072179999999</c:v>
                </c:pt>
                <c:pt idx="181">
                  <c:v>363.37599</c:v>
                </c:pt>
                <c:pt idx="182">
                  <c:v>359.7714661</c:v>
                </c:pt>
                <c:pt idx="183">
                  <c:v>362.56029279999996</c:v>
                </c:pt>
                <c:pt idx="184">
                  <c:v>375.4812422</c:v>
                </c:pt>
                <c:pt idx="185">
                  <c:v>393.8430477</c:v>
                </c:pt>
                <c:pt idx="186">
                  <c:v>425.77936240000002</c:v>
                </c:pt>
                <c:pt idx="187">
                  <c:v>460.71684930000004</c:v>
                </c:pt>
                <c:pt idx="188">
                  <c:v>469.48629189999997</c:v>
                </c:pt>
                <c:pt idx="189">
                  <c:v>462.61614229999998</c:v>
                </c:pt>
                <c:pt idx="190">
                  <c:v>446.17745590000004</c:v>
                </c:pt>
                <c:pt idx="191">
                  <c:v>429.47063200000002</c:v>
                </c:pt>
                <c:pt idx="192">
                  <c:v>417.20606309999999</c:v>
                </c:pt>
                <c:pt idx="193">
                  <c:v>420.33436970000002</c:v>
                </c:pt>
                <c:pt idx="194">
                  <c:v>425.28927219999997</c:v>
                </c:pt>
                <c:pt idx="195">
                  <c:v>419.14220899999998</c:v>
                </c:pt>
                <c:pt idx="196">
                  <c:v>404.82183240000001</c:v>
                </c:pt>
                <c:pt idx="197">
                  <c:v>385.42422050000005</c:v>
                </c:pt>
                <c:pt idx="198">
                  <c:v>363.75524949999999</c:v>
                </c:pt>
                <c:pt idx="199">
                  <c:v>347.30364470000001</c:v>
                </c:pt>
                <c:pt idx="200">
                  <c:v>332.07913259999998</c:v>
                </c:pt>
                <c:pt idx="201">
                  <c:v>318.4787273</c:v>
                </c:pt>
                <c:pt idx="202">
                  <c:v>319.33910939999998</c:v>
                </c:pt>
                <c:pt idx="203">
                  <c:v>328.21852309999997</c:v>
                </c:pt>
                <c:pt idx="204">
                  <c:v>337.20825619999999</c:v>
                </c:pt>
                <c:pt idx="205">
                  <c:v>347.23983139999996</c:v>
                </c:pt>
                <c:pt idx="206">
                  <c:v>356.5065735</c:v>
                </c:pt>
                <c:pt idx="207">
                  <c:v>351.760717</c:v>
                </c:pt>
                <c:pt idx="208">
                  <c:v>346.4856274</c:v>
                </c:pt>
                <c:pt idx="209">
                  <c:v>349.27952470000002</c:v>
                </c:pt>
                <c:pt idx="210">
                  <c:v>365.86980729999999</c:v>
                </c:pt>
                <c:pt idx="211">
                  <c:v>370.32461390000003</c:v>
                </c:pt>
                <c:pt idx="212">
                  <c:v>363.51809320000001</c:v>
                </c:pt>
                <c:pt idx="213">
                  <c:v>355.96343939999997</c:v>
                </c:pt>
                <c:pt idx="214">
                  <c:v>355.0536075</c:v>
                </c:pt>
                <c:pt idx="215">
                  <c:v>355.8041331</c:v>
                </c:pt>
                <c:pt idx="216">
                  <c:v>349.46818610000003</c:v>
                </c:pt>
                <c:pt idx="217">
                  <c:v>336.03054120000002</c:v>
                </c:pt>
                <c:pt idx="218">
                  <c:v>323.50740300000001</c:v>
                </c:pt>
                <c:pt idx="219">
                  <c:v>317.39871590000001</c:v>
                </c:pt>
                <c:pt idx="220">
                  <c:v>310.09767349999998</c:v>
                </c:pt>
                <c:pt idx="221">
                  <c:v>307.65347450000002</c:v>
                </c:pt>
                <c:pt idx="222">
                  <c:v>307.41136340000003</c:v>
                </c:pt>
                <c:pt idx="223">
                  <c:v>302.53440549999999</c:v>
                </c:pt>
                <c:pt idx="224">
                  <c:v>301.19308000000001</c:v>
                </c:pt>
                <c:pt idx="225">
                  <c:v>304.78258489999996</c:v>
                </c:pt>
                <c:pt idx="226">
                  <c:v>313.69643459999998</c:v>
                </c:pt>
                <c:pt idx="227">
                  <c:v>333.58374649999996</c:v>
                </c:pt>
                <c:pt idx="228">
                  <c:v>359.2730219</c:v>
                </c:pt>
                <c:pt idx="229">
                  <c:v>385.05127590000001</c:v>
                </c:pt>
                <c:pt idx="230">
                  <c:v>412.42843620000002</c:v>
                </c:pt>
                <c:pt idx="231">
                  <c:v>441.1974692</c:v>
                </c:pt>
                <c:pt idx="232">
                  <c:v>463.95000069999998</c:v>
                </c:pt>
                <c:pt idx="233">
                  <c:v>478.57182320000004</c:v>
                </c:pt>
                <c:pt idx="234">
                  <c:v>487.32580889999997</c:v>
                </c:pt>
                <c:pt idx="235">
                  <c:v>494.03818799999999</c:v>
                </c:pt>
                <c:pt idx="236">
                  <c:v>502.49051209999999</c:v>
                </c:pt>
                <c:pt idx="237">
                  <c:v>503.02888059999998</c:v>
                </c:pt>
                <c:pt idx="238">
                  <c:v>493.70696810000004</c:v>
                </c:pt>
                <c:pt idx="239">
                  <c:v>478.23219039999998</c:v>
                </c:pt>
                <c:pt idx="240">
                  <c:v>462.97569720000001</c:v>
                </c:pt>
                <c:pt idx="241">
                  <c:v>447.47796829999999</c:v>
                </c:pt>
                <c:pt idx="242">
                  <c:v>434.1804985</c:v>
                </c:pt>
                <c:pt idx="243">
                  <c:v>433.83208880000001</c:v>
                </c:pt>
                <c:pt idx="244">
                  <c:v>431.59112229999999</c:v>
                </c:pt>
                <c:pt idx="245">
                  <c:v>427.23480180000001</c:v>
                </c:pt>
                <c:pt idx="246">
                  <c:v>420.64760190000004</c:v>
                </c:pt>
                <c:pt idx="247">
                  <c:v>409.0495439</c:v>
                </c:pt>
                <c:pt idx="248">
                  <c:v>395.72030100000001</c:v>
                </c:pt>
                <c:pt idx="249">
                  <c:v>361.81401719999997</c:v>
                </c:pt>
                <c:pt idx="250">
                  <c:v>319.39005609999998</c:v>
                </c:pt>
                <c:pt idx="251">
                  <c:v>277.39219150000002</c:v>
                </c:pt>
                <c:pt idx="252">
                  <c:v>236.44252970000002</c:v>
                </c:pt>
                <c:pt idx="253">
                  <c:v>198.86609140000002</c:v>
                </c:pt>
                <c:pt idx="254">
                  <c:v>180.67924770000002</c:v>
                </c:pt>
                <c:pt idx="255">
                  <c:v>183.01173970000002</c:v>
                </c:pt>
                <c:pt idx="256">
                  <c:v>198.64344800000001</c:v>
                </c:pt>
                <c:pt idx="257">
                  <c:v>224.02297899999999</c:v>
                </c:pt>
                <c:pt idx="258">
                  <c:v>260.52663769999998</c:v>
                </c:pt>
                <c:pt idx="259">
                  <c:v>303.71895280000001</c:v>
                </c:pt>
                <c:pt idx="260">
                  <c:v>350.84905549999996</c:v>
                </c:pt>
                <c:pt idx="261">
                  <c:v>401.6993612</c:v>
                </c:pt>
                <c:pt idx="262">
                  <c:v>463.15009630000003</c:v>
                </c:pt>
                <c:pt idx="263">
                  <c:v>535.30438000000004</c:v>
                </c:pt>
                <c:pt idx="264">
                  <c:v>586.19862979999994</c:v>
                </c:pt>
                <c:pt idx="265">
                  <c:v>617.94195590000004</c:v>
                </c:pt>
                <c:pt idx="266">
                  <c:v>639.39511790000006</c:v>
                </c:pt>
                <c:pt idx="267">
                  <c:v>652.03820519999999</c:v>
                </c:pt>
                <c:pt idx="268">
                  <c:v>661.19565220000004</c:v>
                </c:pt>
                <c:pt idx="269">
                  <c:v>664.18141799999989</c:v>
                </c:pt>
                <c:pt idx="270">
                  <c:v>675.74010780000003</c:v>
                </c:pt>
                <c:pt idx="271">
                  <c:v>698.40859920000003</c:v>
                </c:pt>
                <c:pt idx="272">
                  <c:v>704.43824389999997</c:v>
                </c:pt>
                <c:pt idx="273">
                  <c:v>695.23375579999993</c:v>
                </c:pt>
                <c:pt idx="274">
                  <c:v>681.79066880000005</c:v>
                </c:pt>
                <c:pt idx="275">
                  <c:v>651.42552210000008</c:v>
                </c:pt>
                <c:pt idx="276">
                  <c:v>598.9031291</c:v>
                </c:pt>
                <c:pt idx="277">
                  <c:v>533.6079254</c:v>
                </c:pt>
                <c:pt idx="278">
                  <c:v>473.50992799999995</c:v>
                </c:pt>
                <c:pt idx="279">
                  <c:v>412.94316959999998</c:v>
                </c:pt>
                <c:pt idx="280">
                  <c:v>351.24233340000001</c:v>
                </c:pt>
                <c:pt idx="281">
                  <c:v>294.1287203</c:v>
                </c:pt>
                <c:pt idx="282">
                  <c:v>241.94927510000002</c:v>
                </c:pt>
                <c:pt idx="283">
                  <c:v>196.4808103</c:v>
                </c:pt>
                <c:pt idx="284">
                  <c:v>154.49151119999999</c:v>
                </c:pt>
                <c:pt idx="285">
                  <c:v>116.14829659999999</c:v>
                </c:pt>
                <c:pt idx="286">
                  <c:v>88.165156499999995</c:v>
                </c:pt>
                <c:pt idx="287">
                  <c:v>64.810754900000006</c:v>
                </c:pt>
                <c:pt idx="288">
                  <c:v>45.214784999999999</c:v>
                </c:pt>
                <c:pt idx="289">
                  <c:v>32.729704099999999</c:v>
                </c:pt>
                <c:pt idx="290">
                  <c:v>23.122449799999998</c:v>
                </c:pt>
                <c:pt idx="291">
                  <c:v>17.745832999999998</c:v>
                </c:pt>
                <c:pt idx="292">
                  <c:v>11.716016400000001</c:v>
                </c:pt>
                <c:pt idx="293">
                  <c:v>8.3109395999999993</c:v>
                </c:pt>
                <c:pt idx="294">
                  <c:v>6.2462612000000002</c:v>
                </c:pt>
                <c:pt idx="295">
                  <c:v>3.7716938999999998</c:v>
                </c:pt>
                <c:pt idx="296">
                  <c:v>1.4921498</c:v>
                </c:pt>
                <c:pt idx="297">
                  <c:v>0.65380020000000005</c:v>
                </c:pt>
                <c:pt idx="298">
                  <c:v>0.3689038</c:v>
                </c:pt>
                <c:pt idx="299">
                  <c:v>0.1631349</c:v>
                </c:pt>
                <c:pt idx="300">
                  <c:v>1.9203000000000001E-2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4.1405750000000001</c:v>
                </c:pt>
                <c:pt idx="393">
                  <c:v>9.3756421999999997</c:v>
                </c:pt>
                <c:pt idx="394">
                  <c:v>14.2922382</c:v>
                </c:pt>
                <c:pt idx="395">
                  <c:v>18.315332699999999</c:v>
                </c:pt>
                <c:pt idx="396">
                  <c:v>23.860192399999999</c:v>
                </c:pt>
                <c:pt idx="397">
                  <c:v>30.306274500000001</c:v>
                </c:pt>
                <c:pt idx="398">
                  <c:v>37.754040199999999</c:v>
                </c:pt>
                <c:pt idx="399">
                  <c:v>44.457722099999998</c:v>
                </c:pt>
                <c:pt idx="400">
                  <c:v>50.166068999999993</c:v>
                </c:pt>
                <c:pt idx="401">
                  <c:v>55.739318099999998</c:v>
                </c:pt>
                <c:pt idx="402">
                  <c:v>62.376263000000002</c:v>
                </c:pt>
                <c:pt idx="403">
                  <c:v>68.252312799999999</c:v>
                </c:pt>
                <c:pt idx="404">
                  <c:v>73.667444100000012</c:v>
                </c:pt>
                <c:pt idx="405">
                  <c:v>78.514596399999988</c:v>
                </c:pt>
                <c:pt idx="406">
                  <c:v>81.598328499999994</c:v>
                </c:pt>
                <c:pt idx="407">
                  <c:v>84.22181470000001</c:v>
                </c:pt>
                <c:pt idx="408">
                  <c:v>86.321354500000012</c:v>
                </c:pt>
                <c:pt idx="409">
                  <c:v>87.059514699999994</c:v>
                </c:pt>
                <c:pt idx="410">
                  <c:v>84.902131700000012</c:v>
                </c:pt>
                <c:pt idx="411">
                  <c:v>82.622741399999995</c:v>
                </c:pt>
                <c:pt idx="412">
                  <c:v>86.266414099999992</c:v>
                </c:pt>
                <c:pt idx="413">
                  <c:v>94.455067799999995</c:v>
                </c:pt>
                <c:pt idx="414">
                  <c:v>104.5368247</c:v>
                </c:pt>
                <c:pt idx="415">
                  <c:v>115.78702270000001</c:v>
                </c:pt>
                <c:pt idx="416">
                  <c:v>126.67195820000001</c:v>
                </c:pt>
                <c:pt idx="417">
                  <c:v>133.88505409999999</c:v>
                </c:pt>
                <c:pt idx="418">
                  <c:v>139.800116</c:v>
                </c:pt>
                <c:pt idx="419">
                  <c:v>148.6419075</c:v>
                </c:pt>
                <c:pt idx="420">
                  <c:v>157.08483409999999</c:v>
                </c:pt>
                <c:pt idx="421">
                  <c:v>165.20018330000002</c:v>
                </c:pt>
                <c:pt idx="422">
                  <c:v>170.02444630000002</c:v>
                </c:pt>
                <c:pt idx="423">
                  <c:v>172.60054490000002</c:v>
                </c:pt>
                <c:pt idx="424">
                  <c:v>172.48143210000001</c:v>
                </c:pt>
                <c:pt idx="425">
                  <c:v>175.99554470000001</c:v>
                </c:pt>
                <c:pt idx="426">
                  <c:v>184.51394150000002</c:v>
                </c:pt>
                <c:pt idx="427">
                  <c:v>196.49730449999998</c:v>
                </c:pt>
                <c:pt idx="428">
                  <c:v>206.6337719</c:v>
                </c:pt>
                <c:pt idx="429">
                  <c:v>213.40523330000002</c:v>
                </c:pt>
                <c:pt idx="430">
                  <c:v>216.55988620000002</c:v>
                </c:pt>
                <c:pt idx="431">
                  <c:v>218.1953446</c:v>
                </c:pt>
                <c:pt idx="432">
                  <c:v>217.19770800000001</c:v>
                </c:pt>
                <c:pt idx="433">
                  <c:v>215.82728939999998</c:v>
                </c:pt>
                <c:pt idx="434">
                  <c:v>208.18741750000001</c:v>
                </c:pt>
                <c:pt idx="435">
                  <c:v>198.06298530000001</c:v>
                </c:pt>
                <c:pt idx="436">
                  <c:v>187.44196399999998</c:v>
                </c:pt>
                <c:pt idx="437">
                  <c:v>175.8760939</c:v>
                </c:pt>
                <c:pt idx="438">
                  <c:v>163.74502960000001</c:v>
                </c:pt>
                <c:pt idx="439">
                  <c:v>151.63255380000001</c:v>
                </c:pt>
                <c:pt idx="440">
                  <c:v>140.1069047</c:v>
                </c:pt>
                <c:pt idx="441">
                  <c:v>129.26116930000001</c:v>
                </c:pt>
                <c:pt idx="442">
                  <c:v>119.7396358</c:v>
                </c:pt>
                <c:pt idx="443">
                  <c:v>110.3932811</c:v>
                </c:pt>
                <c:pt idx="444">
                  <c:v>101.72073020000001</c:v>
                </c:pt>
                <c:pt idx="445">
                  <c:v>94.384683800000005</c:v>
                </c:pt>
                <c:pt idx="446">
                  <c:v>88.013063099999997</c:v>
                </c:pt>
                <c:pt idx="447">
                  <c:v>82.377833500000008</c:v>
                </c:pt>
                <c:pt idx="448">
                  <c:v>85.024902999999995</c:v>
                </c:pt>
                <c:pt idx="449">
                  <c:v>89.670507499999999</c:v>
                </c:pt>
                <c:pt idx="450">
                  <c:v>95.611625900000007</c:v>
                </c:pt>
                <c:pt idx="451">
                  <c:v>104.2013226</c:v>
                </c:pt>
                <c:pt idx="452">
                  <c:v>112.19809620000001</c:v>
                </c:pt>
                <c:pt idx="453">
                  <c:v>120.0639834</c:v>
                </c:pt>
                <c:pt idx="454">
                  <c:v>127.79928699999999</c:v>
                </c:pt>
                <c:pt idx="455">
                  <c:v>134.15428610000001</c:v>
                </c:pt>
                <c:pt idx="456">
                  <c:v>139.4214389</c:v>
                </c:pt>
                <c:pt idx="457">
                  <c:v>146.87502079999999</c:v>
                </c:pt>
                <c:pt idx="458">
                  <c:v>156.25327899999999</c:v>
                </c:pt>
                <c:pt idx="459">
                  <c:v>161.8927386</c:v>
                </c:pt>
                <c:pt idx="460">
                  <c:v>166.08272349999999</c:v>
                </c:pt>
                <c:pt idx="461">
                  <c:v>182.20603899999998</c:v>
                </c:pt>
                <c:pt idx="462">
                  <c:v>199.05435670000003</c:v>
                </c:pt>
                <c:pt idx="463">
                  <c:v>213.5243012</c:v>
                </c:pt>
                <c:pt idx="464">
                  <c:v>234.70857670000001</c:v>
                </c:pt>
                <c:pt idx="465">
                  <c:v>266.78574620000001</c:v>
                </c:pt>
                <c:pt idx="466">
                  <c:v>285.98384060000001</c:v>
                </c:pt>
                <c:pt idx="467">
                  <c:v>306.69332900000001</c:v>
                </c:pt>
                <c:pt idx="468">
                  <c:v>336.48004900000001</c:v>
                </c:pt>
                <c:pt idx="469">
                  <c:v>359.8821456</c:v>
                </c:pt>
                <c:pt idx="470">
                  <c:v>380.33161189999998</c:v>
                </c:pt>
                <c:pt idx="471">
                  <c:v>387.975348</c:v>
                </c:pt>
                <c:pt idx="472">
                  <c:v>390.13158529999998</c:v>
                </c:pt>
                <c:pt idx="473">
                  <c:v>412.40600649999993</c:v>
                </c:pt>
                <c:pt idx="474">
                  <c:v>432.51665730000002</c:v>
                </c:pt>
                <c:pt idx="475">
                  <c:v>450.31769010000005</c:v>
                </c:pt>
                <c:pt idx="476">
                  <c:v>460.90501219999999</c:v>
                </c:pt>
                <c:pt idx="477">
                  <c:v>457.43620470000002</c:v>
                </c:pt>
                <c:pt idx="478">
                  <c:v>450.31731689999998</c:v>
                </c:pt>
                <c:pt idx="479">
                  <c:v>444.74757770000002</c:v>
                </c:pt>
                <c:pt idx="480">
                  <c:v>466.11408839999996</c:v>
                </c:pt>
                <c:pt idx="481">
                  <c:v>499.4504713</c:v>
                </c:pt>
                <c:pt idx="482">
                  <c:v>535.8208568</c:v>
                </c:pt>
                <c:pt idx="483">
                  <c:v>555.52449200000001</c:v>
                </c:pt>
                <c:pt idx="484">
                  <c:v>554.24474710000004</c:v>
                </c:pt>
                <c:pt idx="485">
                  <c:v>554.5706874</c:v>
                </c:pt>
                <c:pt idx="486">
                  <c:v>544.18765540000004</c:v>
                </c:pt>
                <c:pt idx="487">
                  <c:v>534.70858039999996</c:v>
                </c:pt>
                <c:pt idx="488">
                  <c:v>537.58264100000008</c:v>
                </c:pt>
                <c:pt idx="489">
                  <c:v>542.37588000000005</c:v>
                </c:pt>
                <c:pt idx="490">
                  <c:v>552.61446549999994</c:v>
                </c:pt>
                <c:pt idx="491">
                  <c:v>549.50034549999998</c:v>
                </c:pt>
                <c:pt idx="492">
                  <c:v>533.49688930000002</c:v>
                </c:pt>
                <c:pt idx="493">
                  <c:v>515.18056880000006</c:v>
                </c:pt>
                <c:pt idx="494">
                  <c:v>498.09961120000003</c:v>
                </c:pt>
                <c:pt idx="495">
                  <c:v>488.68260199999997</c:v>
                </c:pt>
                <c:pt idx="496">
                  <c:v>484.75979330000001</c:v>
                </c:pt>
                <c:pt idx="497">
                  <c:v>487.78147970000003</c:v>
                </c:pt>
                <c:pt idx="498">
                  <c:v>489.40500059999999</c:v>
                </c:pt>
                <c:pt idx="499">
                  <c:v>480.94814080000003</c:v>
                </c:pt>
                <c:pt idx="500">
                  <c:v>478.13566219999996</c:v>
                </c:pt>
                <c:pt idx="501">
                  <c:v>473.73872269999998</c:v>
                </c:pt>
                <c:pt idx="502">
                  <c:v>476.1954508</c:v>
                </c:pt>
                <c:pt idx="503">
                  <c:v>478.3205653</c:v>
                </c:pt>
                <c:pt idx="504">
                  <c:v>474.85895579999999</c:v>
                </c:pt>
                <c:pt idx="505">
                  <c:v>467.53701710000001</c:v>
                </c:pt>
                <c:pt idx="506">
                  <c:v>453.77527600000008</c:v>
                </c:pt>
                <c:pt idx="507">
                  <c:v>439.5126722</c:v>
                </c:pt>
                <c:pt idx="508">
                  <c:v>417.81764680000003</c:v>
                </c:pt>
                <c:pt idx="509">
                  <c:v>412.56669959999999</c:v>
                </c:pt>
                <c:pt idx="510">
                  <c:v>416.27225470000002</c:v>
                </c:pt>
                <c:pt idx="511">
                  <c:v>415.69961799999999</c:v>
                </c:pt>
                <c:pt idx="512">
                  <c:v>400.54914200000002</c:v>
                </c:pt>
                <c:pt idx="513">
                  <c:v>373.2919933</c:v>
                </c:pt>
                <c:pt idx="514">
                  <c:v>332.40208699999999</c:v>
                </c:pt>
                <c:pt idx="515">
                  <c:v>287.61761760000002</c:v>
                </c:pt>
                <c:pt idx="516">
                  <c:v>242.0006722</c:v>
                </c:pt>
                <c:pt idx="517">
                  <c:v>200.96339359999999</c:v>
                </c:pt>
                <c:pt idx="518">
                  <c:v>166.65689219999999</c:v>
                </c:pt>
                <c:pt idx="519">
                  <c:v>139.11134340000001</c:v>
                </c:pt>
                <c:pt idx="520">
                  <c:v>116.2980001</c:v>
                </c:pt>
                <c:pt idx="521">
                  <c:v>96.180898800000008</c:v>
                </c:pt>
                <c:pt idx="522">
                  <c:v>81.395145799999995</c:v>
                </c:pt>
                <c:pt idx="523">
                  <c:v>65.400630899999996</c:v>
                </c:pt>
                <c:pt idx="524">
                  <c:v>52.198969399999996</c:v>
                </c:pt>
                <c:pt idx="525">
                  <c:v>42.567627199999997</c:v>
                </c:pt>
                <c:pt idx="526">
                  <c:v>36.9774715</c:v>
                </c:pt>
                <c:pt idx="527">
                  <c:v>33.4682678</c:v>
                </c:pt>
                <c:pt idx="528">
                  <c:v>31.764078999999999</c:v>
                </c:pt>
                <c:pt idx="529">
                  <c:v>30.224554300000001</c:v>
                </c:pt>
                <c:pt idx="530">
                  <c:v>28.708336800000001</c:v>
                </c:pt>
                <c:pt idx="531">
                  <c:v>27.430540799999999</c:v>
                </c:pt>
                <c:pt idx="532">
                  <c:v>26.043956899999998</c:v>
                </c:pt>
                <c:pt idx="533">
                  <c:v>25.1286013</c:v>
                </c:pt>
                <c:pt idx="534">
                  <c:v>24.968611800000001</c:v>
                </c:pt>
                <c:pt idx="535">
                  <c:v>25.419969900000002</c:v>
                </c:pt>
                <c:pt idx="536">
                  <c:v>26.201465499999998</c:v>
                </c:pt>
                <c:pt idx="537">
                  <c:v>27.001265</c:v>
                </c:pt>
                <c:pt idx="538">
                  <c:v>28.275455600000001</c:v>
                </c:pt>
                <c:pt idx="539">
                  <c:v>29.741819</c:v>
                </c:pt>
                <c:pt idx="540">
                  <c:v>31.171698599999999</c:v>
                </c:pt>
                <c:pt idx="541">
                  <c:v>32.478152999999999</c:v>
                </c:pt>
                <c:pt idx="542">
                  <c:v>33.740777999999999</c:v>
                </c:pt>
                <c:pt idx="543">
                  <c:v>34.9095479</c:v>
                </c:pt>
                <c:pt idx="544">
                  <c:v>35.7988243</c:v>
                </c:pt>
                <c:pt idx="545">
                  <c:v>40.351227399999999</c:v>
                </c:pt>
                <c:pt idx="546">
                  <c:v>45.811371799999996</c:v>
                </c:pt>
                <c:pt idx="547">
                  <c:v>52.012304900000004</c:v>
                </c:pt>
                <c:pt idx="548">
                  <c:v>58.121315600000003</c:v>
                </c:pt>
                <c:pt idx="549">
                  <c:v>65.350714600000003</c:v>
                </c:pt>
                <c:pt idx="550">
                  <c:v>72.547786099999996</c:v>
                </c:pt>
                <c:pt idx="551">
                  <c:v>78.875505400000009</c:v>
                </c:pt>
                <c:pt idx="552">
                  <c:v>84.637923599999993</c:v>
                </c:pt>
                <c:pt idx="553">
                  <c:v>91.574072400000006</c:v>
                </c:pt>
                <c:pt idx="554">
                  <c:v>98.436104799999995</c:v>
                </c:pt>
                <c:pt idx="555">
                  <c:v>104.7290265</c:v>
                </c:pt>
                <c:pt idx="556">
                  <c:v>110.4559634</c:v>
                </c:pt>
                <c:pt idx="557">
                  <c:v>116.2654833</c:v>
                </c:pt>
                <c:pt idx="558">
                  <c:v>122.2377481</c:v>
                </c:pt>
                <c:pt idx="559">
                  <c:v>123.8960661</c:v>
                </c:pt>
                <c:pt idx="560">
                  <c:v>127.0277028</c:v>
                </c:pt>
                <c:pt idx="561">
                  <c:v>128.55284089999998</c:v>
                </c:pt>
                <c:pt idx="562">
                  <c:v>131.07764319999998</c:v>
                </c:pt>
                <c:pt idx="563">
                  <c:v>136.9115516</c:v>
                </c:pt>
                <c:pt idx="564">
                  <c:v>151.71259069999999</c:v>
                </c:pt>
                <c:pt idx="565">
                  <c:v>168.68243129999999</c:v>
                </c:pt>
                <c:pt idx="566">
                  <c:v>179.52411749999999</c:v>
                </c:pt>
                <c:pt idx="567">
                  <c:v>184.58779760000002</c:v>
                </c:pt>
                <c:pt idx="568">
                  <c:v>184.46970659999999</c:v>
                </c:pt>
                <c:pt idx="569">
                  <c:v>182.3697296</c:v>
                </c:pt>
                <c:pt idx="570">
                  <c:v>183.34577469999999</c:v>
                </c:pt>
                <c:pt idx="571">
                  <c:v>185.38877170000001</c:v>
                </c:pt>
                <c:pt idx="572">
                  <c:v>182.7233023</c:v>
                </c:pt>
                <c:pt idx="573">
                  <c:v>175.0814867</c:v>
                </c:pt>
                <c:pt idx="574">
                  <c:v>165.2603426</c:v>
                </c:pt>
                <c:pt idx="575">
                  <c:v>156.66121450000003</c:v>
                </c:pt>
                <c:pt idx="576">
                  <c:v>148.91937810000002</c:v>
                </c:pt>
                <c:pt idx="577">
                  <c:v>141.71018369999999</c:v>
                </c:pt>
                <c:pt idx="578">
                  <c:v>135.54026479999999</c:v>
                </c:pt>
                <c:pt idx="579">
                  <c:v>130.199511</c:v>
                </c:pt>
                <c:pt idx="580">
                  <c:v>120.16486450000001</c:v>
                </c:pt>
                <c:pt idx="581">
                  <c:v>107.6424925</c:v>
                </c:pt>
                <c:pt idx="582">
                  <c:v>94.745689600000006</c:v>
                </c:pt>
                <c:pt idx="583">
                  <c:v>82.124229999999997</c:v>
                </c:pt>
                <c:pt idx="584">
                  <c:v>69.649425000000008</c:v>
                </c:pt>
                <c:pt idx="585">
                  <c:v>58.923696700000001</c:v>
                </c:pt>
                <c:pt idx="586">
                  <c:v>50.882124500000003</c:v>
                </c:pt>
                <c:pt idx="587">
                  <c:v>44.773057199999997</c:v>
                </c:pt>
                <c:pt idx="588">
                  <c:v>39.286080800000001</c:v>
                </c:pt>
                <c:pt idx="589">
                  <c:v>34.503375599999998</c:v>
                </c:pt>
                <c:pt idx="590">
                  <c:v>30.535709400000002</c:v>
                </c:pt>
                <c:pt idx="591">
                  <c:v>27.374591599999999</c:v>
                </c:pt>
                <c:pt idx="592">
                  <c:v>24.497048100000001</c:v>
                </c:pt>
                <c:pt idx="593">
                  <c:v>22.6307139</c:v>
                </c:pt>
                <c:pt idx="594">
                  <c:v>22.638886100000001</c:v>
                </c:pt>
                <c:pt idx="595">
                  <c:v>22.627963600000001</c:v>
                </c:pt>
                <c:pt idx="596">
                  <c:v>22.5865756</c:v>
                </c:pt>
                <c:pt idx="597">
                  <c:v>22.4081802</c:v>
                </c:pt>
                <c:pt idx="598">
                  <c:v>22.3250381</c:v>
                </c:pt>
                <c:pt idx="599">
                  <c:v>22.372648300000002</c:v>
                </c:pt>
                <c:pt idx="600">
                  <c:v>22.3736009</c:v>
                </c:pt>
                <c:pt idx="601">
                  <c:v>22.443259399999999</c:v>
                </c:pt>
                <c:pt idx="602">
                  <c:v>22.484751299999999</c:v>
                </c:pt>
                <c:pt idx="603">
                  <c:v>22.514811099999999</c:v>
                </c:pt>
                <c:pt idx="604">
                  <c:v>26.870212899999999</c:v>
                </c:pt>
                <c:pt idx="605">
                  <c:v>32.195854300000001</c:v>
                </c:pt>
                <c:pt idx="606">
                  <c:v>37.426098000000003</c:v>
                </c:pt>
                <c:pt idx="607">
                  <c:v>42.843627099999999</c:v>
                </c:pt>
                <c:pt idx="608">
                  <c:v>47.077474199999997</c:v>
                </c:pt>
                <c:pt idx="609">
                  <c:v>51.461413199999996</c:v>
                </c:pt>
                <c:pt idx="610">
                  <c:v>55.621038800000001</c:v>
                </c:pt>
                <c:pt idx="611">
                  <c:v>58.310649499999997</c:v>
                </c:pt>
                <c:pt idx="612">
                  <c:v>58.546592700000005</c:v>
                </c:pt>
                <c:pt idx="613">
                  <c:v>58.751632300000004</c:v>
                </c:pt>
                <c:pt idx="614">
                  <c:v>59.823767799999999</c:v>
                </c:pt>
                <c:pt idx="615">
                  <c:v>59.6742092</c:v>
                </c:pt>
                <c:pt idx="616">
                  <c:v>59.932657899999995</c:v>
                </c:pt>
                <c:pt idx="617">
                  <c:v>60.928136699999996</c:v>
                </c:pt>
                <c:pt idx="618">
                  <c:v>61.2213773</c:v>
                </c:pt>
                <c:pt idx="619">
                  <c:v>64.607501499999998</c:v>
                </c:pt>
                <c:pt idx="620">
                  <c:v>67.583911400000005</c:v>
                </c:pt>
                <c:pt idx="621">
                  <c:v>70.100440599999999</c:v>
                </c:pt>
                <c:pt idx="622">
                  <c:v>71.438402800000006</c:v>
                </c:pt>
                <c:pt idx="623">
                  <c:v>71.920833599999995</c:v>
                </c:pt>
                <c:pt idx="624">
                  <c:v>71.309935600000003</c:v>
                </c:pt>
                <c:pt idx="625">
                  <c:v>70.319269800000001</c:v>
                </c:pt>
                <c:pt idx="626">
                  <c:v>69.005332600000003</c:v>
                </c:pt>
                <c:pt idx="627">
                  <c:v>67.070113899999996</c:v>
                </c:pt>
                <c:pt idx="628">
                  <c:v>65.151474100000001</c:v>
                </c:pt>
                <c:pt idx="629">
                  <c:v>65.242765800000001</c:v>
                </c:pt>
                <c:pt idx="630">
                  <c:v>65.372014499999992</c:v>
                </c:pt>
                <c:pt idx="631">
                  <c:v>64.583650899999995</c:v>
                </c:pt>
                <c:pt idx="632">
                  <c:v>63.462138400000001</c:v>
                </c:pt>
                <c:pt idx="633">
                  <c:v>62.228281000000003</c:v>
                </c:pt>
                <c:pt idx="634">
                  <c:v>62.413664499999996</c:v>
                </c:pt>
                <c:pt idx="635">
                  <c:v>62.826990300000006</c:v>
                </c:pt>
                <c:pt idx="636">
                  <c:v>64.187138599999997</c:v>
                </c:pt>
                <c:pt idx="637">
                  <c:v>65.614643400000006</c:v>
                </c:pt>
                <c:pt idx="638">
                  <c:v>67.052399300000005</c:v>
                </c:pt>
                <c:pt idx="639">
                  <c:v>68.076493900000003</c:v>
                </c:pt>
                <c:pt idx="640">
                  <c:v>68.373007300000012</c:v>
                </c:pt>
                <c:pt idx="641">
                  <c:v>68.916656799999998</c:v>
                </c:pt>
                <c:pt idx="642">
                  <c:v>70.04393619999999</c:v>
                </c:pt>
                <c:pt idx="643">
                  <c:v>73.024253000000002</c:v>
                </c:pt>
                <c:pt idx="644">
                  <c:v>77.91804909999999</c:v>
                </c:pt>
                <c:pt idx="645">
                  <c:v>83.735848199999992</c:v>
                </c:pt>
                <c:pt idx="646">
                  <c:v>88.783075800000006</c:v>
                </c:pt>
                <c:pt idx="647">
                  <c:v>94.313943399999999</c:v>
                </c:pt>
                <c:pt idx="648">
                  <c:v>101.7934396</c:v>
                </c:pt>
                <c:pt idx="649">
                  <c:v>114.2577464</c:v>
                </c:pt>
                <c:pt idx="650">
                  <c:v>131.60574940000001</c:v>
                </c:pt>
                <c:pt idx="651">
                  <c:v>146.6882598</c:v>
                </c:pt>
                <c:pt idx="652">
                  <c:v>160.033017</c:v>
                </c:pt>
                <c:pt idx="653">
                  <c:v>172.450019</c:v>
                </c:pt>
                <c:pt idx="654">
                  <c:v>181.78681699999999</c:v>
                </c:pt>
                <c:pt idx="655">
                  <c:v>188.59892350000001</c:v>
                </c:pt>
                <c:pt idx="656">
                  <c:v>193.97794039999999</c:v>
                </c:pt>
                <c:pt idx="657">
                  <c:v>197.4243578</c:v>
                </c:pt>
                <c:pt idx="658">
                  <c:v>198.44088400000001</c:v>
                </c:pt>
                <c:pt idx="659">
                  <c:v>195.96650889999998</c:v>
                </c:pt>
                <c:pt idx="660">
                  <c:v>195.68918710000003</c:v>
                </c:pt>
                <c:pt idx="661">
                  <c:v>196.97674039999998</c:v>
                </c:pt>
                <c:pt idx="662">
                  <c:v>199.44067050000001</c:v>
                </c:pt>
                <c:pt idx="663">
                  <c:v>202.28578809999999</c:v>
                </c:pt>
                <c:pt idx="664">
                  <c:v>205.01044830000001</c:v>
                </c:pt>
                <c:pt idx="665">
                  <c:v>211.48786230000002</c:v>
                </c:pt>
                <c:pt idx="666">
                  <c:v>219.4916446</c:v>
                </c:pt>
                <c:pt idx="667">
                  <c:v>224.7136807</c:v>
                </c:pt>
                <c:pt idx="668">
                  <c:v>229.1072073</c:v>
                </c:pt>
                <c:pt idx="669">
                  <c:v>237.48326399999999</c:v>
                </c:pt>
                <c:pt idx="670">
                  <c:v>244.4556259</c:v>
                </c:pt>
                <c:pt idx="671">
                  <c:v>247.39557809999999</c:v>
                </c:pt>
                <c:pt idx="672">
                  <c:v>247.7609094</c:v>
                </c:pt>
                <c:pt idx="673">
                  <c:v>249.81551530000002</c:v>
                </c:pt>
                <c:pt idx="674">
                  <c:v>252.875922</c:v>
                </c:pt>
                <c:pt idx="675">
                  <c:v>257.27066120000001</c:v>
                </c:pt>
                <c:pt idx="676">
                  <c:v>261.2269316</c:v>
                </c:pt>
                <c:pt idx="677">
                  <c:v>265.34222979999998</c:v>
                </c:pt>
                <c:pt idx="678">
                  <c:v>270.81115890000001</c:v>
                </c:pt>
                <c:pt idx="679">
                  <c:v>274.41605859999999</c:v>
                </c:pt>
                <c:pt idx="680">
                  <c:v>275.11317980000001</c:v>
                </c:pt>
                <c:pt idx="681">
                  <c:v>279.13774430000001</c:v>
                </c:pt>
                <c:pt idx="682">
                  <c:v>285.13787279999997</c:v>
                </c:pt>
                <c:pt idx="683">
                  <c:v>285.89160840000005</c:v>
                </c:pt>
                <c:pt idx="684">
                  <c:v>285.5692871</c:v>
                </c:pt>
                <c:pt idx="685">
                  <c:v>286.34595949999999</c:v>
                </c:pt>
                <c:pt idx="686">
                  <c:v>286.89483329999996</c:v>
                </c:pt>
                <c:pt idx="687">
                  <c:v>285.51972719999998</c:v>
                </c:pt>
                <c:pt idx="688">
                  <c:v>277.39548569999999</c:v>
                </c:pt>
                <c:pt idx="689">
                  <c:v>258.75535739999998</c:v>
                </c:pt>
                <c:pt idx="690">
                  <c:v>238.8382604</c:v>
                </c:pt>
                <c:pt idx="691">
                  <c:v>219.49704349999999</c:v>
                </c:pt>
                <c:pt idx="692">
                  <c:v>203.33700050000002</c:v>
                </c:pt>
                <c:pt idx="693">
                  <c:v>189.4652213</c:v>
                </c:pt>
                <c:pt idx="694">
                  <c:v>175.08216469999999</c:v>
                </c:pt>
                <c:pt idx="695">
                  <c:v>162.43783519999999</c:v>
                </c:pt>
                <c:pt idx="696">
                  <c:v>155.4215122</c:v>
                </c:pt>
                <c:pt idx="697">
                  <c:v>154.07738520000001</c:v>
                </c:pt>
                <c:pt idx="698">
                  <c:v>154.93801540000001</c:v>
                </c:pt>
                <c:pt idx="699">
                  <c:v>158.05485590000001</c:v>
                </c:pt>
                <c:pt idx="700">
                  <c:v>161.73843429999999</c:v>
                </c:pt>
                <c:pt idx="701">
                  <c:v>165.2966639</c:v>
                </c:pt>
                <c:pt idx="702">
                  <c:v>171.5582225</c:v>
                </c:pt>
                <c:pt idx="703">
                  <c:v>177.50453970000001</c:v>
                </c:pt>
                <c:pt idx="704">
                  <c:v>181.63183470000001</c:v>
                </c:pt>
                <c:pt idx="705">
                  <c:v>186.62630540000001</c:v>
                </c:pt>
                <c:pt idx="706">
                  <c:v>192.08514220000001</c:v>
                </c:pt>
                <c:pt idx="707">
                  <c:v>196.6257554</c:v>
                </c:pt>
                <c:pt idx="708">
                  <c:v>201.90843000000001</c:v>
                </c:pt>
                <c:pt idx="709">
                  <c:v>207.59382570000002</c:v>
                </c:pt>
                <c:pt idx="710">
                  <c:v>217.4320927</c:v>
                </c:pt>
                <c:pt idx="711">
                  <c:v>230.18720949999999</c:v>
                </c:pt>
                <c:pt idx="712">
                  <c:v>242.80401160000002</c:v>
                </c:pt>
                <c:pt idx="713">
                  <c:v>256.06981810000002</c:v>
                </c:pt>
                <c:pt idx="714">
                  <c:v>266.1089867</c:v>
                </c:pt>
                <c:pt idx="715">
                  <c:v>273.11598029999999</c:v>
                </c:pt>
                <c:pt idx="716">
                  <c:v>280.40466449999997</c:v>
                </c:pt>
                <c:pt idx="717">
                  <c:v>290.27935230000003</c:v>
                </c:pt>
                <c:pt idx="718">
                  <c:v>303.85109260000002</c:v>
                </c:pt>
                <c:pt idx="719">
                  <c:v>314.28580039999997</c:v>
                </c:pt>
                <c:pt idx="720">
                  <c:v>322.03331380000003</c:v>
                </c:pt>
                <c:pt idx="721">
                  <c:v>332.63685930000003</c:v>
                </c:pt>
                <c:pt idx="722">
                  <c:v>345.52490469999998</c:v>
                </c:pt>
                <c:pt idx="723">
                  <c:v>353.601967</c:v>
                </c:pt>
                <c:pt idx="724">
                  <c:v>359.52562609999995</c:v>
                </c:pt>
                <c:pt idx="725">
                  <c:v>368.2183751</c:v>
                </c:pt>
                <c:pt idx="726">
                  <c:v>382.54193270000002</c:v>
                </c:pt>
                <c:pt idx="727">
                  <c:v>399.93818449999998</c:v>
                </c:pt>
                <c:pt idx="728">
                  <c:v>409.93098809999998</c:v>
                </c:pt>
                <c:pt idx="729">
                  <c:v>413.02425250000005</c:v>
                </c:pt>
                <c:pt idx="730">
                  <c:v>415.10199880000005</c:v>
                </c:pt>
                <c:pt idx="731">
                  <c:v>416.82853260000002</c:v>
                </c:pt>
                <c:pt idx="732">
                  <c:v>420.63447640000004</c:v>
                </c:pt>
                <c:pt idx="733">
                  <c:v>432.23562520000002</c:v>
                </c:pt>
                <c:pt idx="734">
                  <c:v>444.27138860000002</c:v>
                </c:pt>
                <c:pt idx="735">
                  <c:v>447.67299209999999</c:v>
                </c:pt>
                <c:pt idx="736">
                  <c:v>442.23112750000001</c:v>
                </c:pt>
                <c:pt idx="737">
                  <c:v>438.79799049999997</c:v>
                </c:pt>
                <c:pt idx="738">
                  <c:v>436.74068310000001</c:v>
                </c:pt>
                <c:pt idx="739">
                  <c:v>441.75965980000001</c:v>
                </c:pt>
                <c:pt idx="740">
                  <c:v>442.8613527</c:v>
                </c:pt>
                <c:pt idx="741">
                  <c:v>443.46233129999996</c:v>
                </c:pt>
                <c:pt idx="742">
                  <c:v>439.24310859999997</c:v>
                </c:pt>
                <c:pt idx="743">
                  <c:v>429.9216017</c:v>
                </c:pt>
                <c:pt idx="744">
                  <c:v>418.83619609999994</c:v>
                </c:pt>
                <c:pt idx="745">
                  <c:v>412.67749839999999</c:v>
                </c:pt>
                <c:pt idx="746">
                  <c:v>417.32386989999998</c:v>
                </c:pt>
                <c:pt idx="747">
                  <c:v>425.71754379999999</c:v>
                </c:pt>
                <c:pt idx="748">
                  <c:v>433.07820839999999</c:v>
                </c:pt>
                <c:pt idx="749">
                  <c:v>434.60455639999998</c:v>
                </c:pt>
                <c:pt idx="750">
                  <c:v>431.8639718</c:v>
                </c:pt>
                <c:pt idx="751">
                  <c:v>433.46728459999997</c:v>
                </c:pt>
                <c:pt idx="752">
                  <c:v>436.35132849999997</c:v>
                </c:pt>
                <c:pt idx="753">
                  <c:v>433.5072452</c:v>
                </c:pt>
                <c:pt idx="754">
                  <c:v>431.22455419999994</c:v>
                </c:pt>
                <c:pt idx="755">
                  <c:v>430.13719779999997</c:v>
                </c:pt>
                <c:pt idx="756">
                  <c:v>428.01592979999998</c:v>
                </c:pt>
                <c:pt idx="757">
                  <c:v>420.30936170000001</c:v>
                </c:pt>
                <c:pt idx="758">
                  <c:v>416.47137479999998</c:v>
                </c:pt>
                <c:pt idx="759">
                  <c:v>413.44245059999997</c:v>
                </c:pt>
                <c:pt idx="760">
                  <c:v>409.11007560000002</c:v>
                </c:pt>
                <c:pt idx="761">
                  <c:v>407.7680143</c:v>
                </c:pt>
                <c:pt idx="762">
                  <c:v>406.41838410000003</c:v>
                </c:pt>
                <c:pt idx="763">
                  <c:v>410.05087379999998</c:v>
                </c:pt>
                <c:pt idx="764">
                  <c:v>412.0579874</c:v>
                </c:pt>
                <c:pt idx="765">
                  <c:v>405.7222486</c:v>
                </c:pt>
                <c:pt idx="766">
                  <c:v>398.51773179999998</c:v>
                </c:pt>
                <c:pt idx="767">
                  <c:v>400.09693779999998</c:v>
                </c:pt>
                <c:pt idx="768">
                  <c:v>402.81093659999999</c:v>
                </c:pt>
                <c:pt idx="769">
                  <c:v>408.35838339999998</c:v>
                </c:pt>
                <c:pt idx="770">
                  <c:v>414.03434060000001</c:v>
                </c:pt>
                <c:pt idx="771">
                  <c:v>413.55853840000003</c:v>
                </c:pt>
                <c:pt idx="772">
                  <c:v>396.26045920000001</c:v>
                </c:pt>
                <c:pt idx="773">
                  <c:v>371.95061299999998</c:v>
                </c:pt>
                <c:pt idx="774">
                  <c:v>345.90854310000003</c:v>
                </c:pt>
                <c:pt idx="775">
                  <c:v>317.54755329999995</c:v>
                </c:pt>
                <c:pt idx="776">
                  <c:v>292.66148240000001</c:v>
                </c:pt>
                <c:pt idx="777">
                  <c:v>272.02229120000004</c:v>
                </c:pt>
                <c:pt idx="778">
                  <c:v>253.51179110000001</c:v>
                </c:pt>
                <c:pt idx="779">
                  <c:v>236.27915189999999</c:v>
                </c:pt>
                <c:pt idx="780">
                  <c:v>224.36347939999999</c:v>
                </c:pt>
                <c:pt idx="781">
                  <c:v>215.85072249999999</c:v>
                </c:pt>
                <c:pt idx="782">
                  <c:v>209.18358389999997</c:v>
                </c:pt>
                <c:pt idx="783">
                  <c:v>204.5618139</c:v>
                </c:pt>
                <c:pt idx="784">
                  <c:v>197.45229280000001</c:v>
                </c:pt>
                <c:pt idx="785">
                  <c:v>189.4538422</c:v>
                </c:pt>
                <c:pt idx="786">
                  <c:v>188.21926610000003</c:v>
                </c:pt>
                <c:pt idx="787">
                  <c:v>190.9729169</c:v>
                </c:pt>
                <c:pt idx="788">
                  <c:v>192.25370800000002</c:v>
                </c:pt>
                <c:pt idx="789">
                  <c:v>194.02457090000001</c:v>
                </c:pt>
                <c:pt idx="790">
                  <c:v>197.56085329999999</c:v>
                </c:pt>
                <c:pt idx="791">
                  <c:v>198.9662099</c:v>
                </c:pt>
                <c:pt idx="792">
                  <c:v>196.04125370000003</c:v>
                </c:pt>
                <c:pt idx="793">
                  <c:v>192.58122800000001</c:v>
                </c:pt>
                <c:pt idx="794">
                  <c:v>188.7737319</c:v>
                </c:pt>
                <c:pt idx="795">
                  <c:v>184.559957</c:v>
                </c:pt>
                <c:pt idx="796">
                  <c:v>182.3344912</c:v>
                </c:pt>
                <c:pt idx="797">
                  <c:v>182.98880839999998</c:v>
                </c:pt>
                <c:pt idx="798">
                  <c:v>185.28452250000001</c:v>
                </c:pt>
                <c:pt idx="799">
                  <c:v>185.78915849999998</c:v>
                </c:pt>
                <c:pt idx="800">
                  <c:v>185.8648523</c:v>
                </c:pt>
                <c:pt idx="801">
                  <c:v>188.81324119999999</c:v>
                </c:pt>
                <c:pt idx="802">
                  <c:v>198.3891625</c:v>
                </c:pt>
                <c:pt idx="803">
                  <c:v>214.92161250000001</c:v>
                </c:pt>
                <c:pt idx="804">
                  <c:v>209.31690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F80-4D44-B5FB-C7344E7BB008}"/>
            </c:ext>
          </c:extLst>
        </c:ser>
        <c:ser>
          <c:idx val="0"/>
          <c:order val="0"/>
          <c:tx>
            <c:strRef>
              <c:f>Sheet1!$B$1</c:f>
              <c:strCache>
                <c:ptCount val="1"/>
                <c:pt idx="0">
                  <c:v>Actual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806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B$2:$B$864</c:f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17B6-4818-925F-A1C544F085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77514272"/>
        <c:axId val="277514832"/>
      </c:barChart>
      <c:dateAx>
        <c:axId val="277514272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7514832"/>
        <c:crossesAt val="0"/>
        <c:auto val="0"/>
        <c:lblOffset val="100"/>
        <c:baseTimeUnit val="days"/>
      </c:dateAx>
      <c:valAx>
        <c:axId val="2775148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/>
                  <a:t>Decomps</a:t>
                </a:r>
              </a:p>
            </c:rich>
          </c:tx>
          <c:layout>
            <c:manualLayout>
              <c:xMode val="edge"/>
              <c:yMode val="edge"/>
              <c:x val="3.8435345703054992E-2"/>
              <c:y val="0.386098261534172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7514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irst time activations from model</a:t>
            </a:r>
            <a:endParaRPr lang="en-IN"/>
          </a:p>
        </c:rich>
      </c:tx>
      <c:layout>
        <c:manualLayout>
          <c:xMode val="edge"/>
          <c:yMode val="edge"/>
          <c:x val="0.46789810466706799"/>
          <c:y val="5.91848798045087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758461163752039"/>
          <c:y val="0.10587154523057826"/>
          <c:w val="0.86370781389216877"/>
          <c:h val="0.70497627599232382"/>
        </c:manualLayout>
      </c:layout>
      <c:barChart>
        <c:barDir val="col"/>
        <c:grouping val="stacked"/>
        <c:varyColors val="0"/>
        <c:ser>
          <c:idx val="10"/>
          <c:order val="10"/>
          <c:tx>
            <c:strRef>
              <c:f>Sheet1!$L$1</c:f>
              <c:strCache>
                <c:ptCount val="1"/>
                <c:pt idx="0">
                  <c:v>Other Media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  <a:effectLst/>
          </c:spPr>
          <c:invertIfNegative val="0"/>
          <c:cat>
            <c:numRef>
              <c:f>Sheet1!$A$2:$A$806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L$2:$L$806</c:f>
              <c:numCache>
                <c:formatCode>#,##0</c:formatCode>
                <c:ptCount val="8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40.446429742857148</c:v>
                </c:pt>
                <c:pt idx="7">
                  <c:v>49.117011657142868</c:v>
                </c:pt>
                <c:pt idx="8">
                  <c:v>56.552552300000002</c:v>
                </c:pt>
                <c:pt idx="9">
                  <c:v>62.624992599999999</c:v>
                </c:pt>
                <c:pt idx="10">
                  <c:v>67.424945757142851</c:v>
                </c:pt>
                <c:pt idx="11">
                  <c:v>71.13143208571428</c:v>
                </c:pt>
                <c:pt idx="12">
                  <c:v>73.943738271428558</c:v>
                </c:pt>
                <c:pt idx="13">
                  <c:v>76.048597042857139</c:v>
                </c:pt>
                <c:pt idx="14">
                  <c:v>77.536454714285711</c:v>
                </c:pt>
                <c:pt idx="15">
                  <c:v>78.559025642857151</c:v>
                </c:pt>
                <c:pt idx="16">
                  <c:v>79.235050985714295</c:v>
                </c:pt>
                <c:pt idx="17">
                  <c:v>79.655550228571428</c:v>
                </c:pt>
                <c:pt idx="18">
                  <c:v>79.889193900000009</c:v>
                </c:pt>
                <c:pt idx="19">
                  <c:v>79.987146800000005</c:v>
                </c:pt>
                <c:pt idx="20">
                  <c:v>78.817812342857138</c:v>
                </c:pt>
                <c:pt idx="21">
                  <c:v>76.080821242857141</c:v>
                </c:pt>
                <c:pt idx="22">
                  <c:v>71.767582642857136</c:v>
                </c:pt>
                <c:pt idx="23">
                  <c:v>66.045556971428567</c:v>
                </c:pt>
                <c:pt idx="24">
                  <c:v>59.143108542857142</c:v>
                </c:pt>
                <c:pt idx="25">
                  <c:v>51.291146857142856</c:v>
                </c:pt>
                <c:pt idx="26">
                  <c:v>42.696627785714284</c:v>
                </c:pt>
                <c:pt idx="27">
                  <c:v>34.702584757142866</c:v>
                </c:pt>
                <c:pt idx="28">
                  <c:v>27.847216528571433</c:v>
                </c:pt>
                <c:pt idx="29">
                  <c:v>22.248590099999998</c:v>
                </c:pt>
                <c:pt idx="30">
                  <c:v>17.823162557142858</c:v>
                </c:pt>
                <c:pt idx="31">
                  <c:v>14.405881985714286</c:v>
                </c:pt>
                <c:pt idx="32">
                  <c:v>11.813011414285715</c:v>
                </c:pt>
                <c:pt idx="33">
                  <c:v>9.8723883142857147</c:v>
                </c:pt>
                <c:pt idx="34">
                  <c:v>8.5006236285714287</c:v>
                </c:pt>
                <c:pt idx="35">
                  <c:v>7.5578407857142862</c:v>
                </c:pt>
                <c:pt idx="36">
                  <c:v>6.9345636428571433</c:v>
                </c:pt>
                <c:pt idx="37">
                  <c:v>6.546874685714287</c:v>
                </c:pt>
                <c:pt idx="38">
                  <c:v>6.3314615142857154</c:v>
                </c:pt>
                <c:pt idx="39">
                  <c:v>6.2411516000000011</c:v>
                </c:pt>
                <c:pt idx="40">
                  <c:v>6.2411516000000011</c:v>
                </c:pt>
                <c:pt idx="41">
                  <c:v>6.2411516000000011</c:v>
                </c:pt>
                <c:pt idx="42">
                  <c:v>6.2411516000000011</c:v>
                </c:pt>
                <c:pt idx="43">
                  <c:v>6.2411516000000011</c:v>
                </c:pt>
                <c:pt idx="44">
                  <c:v>6.2411516000000011</c:v>
                </c:pt>
                <c:pt idx="45">
                  <c:v>6.2411516000000011</c:v>
                </c:pt>
                <c:pt idx="46">
                  <c:v>6.2411516000000011</c:v>
                </c:pt>
                <c:pt idx="47">
                  <c:v>6.2411516000000011</c:v>
                </c:pt>
                <c:pt idx="48">
                  <c:v>6.2411516000000011</c:v>
                </c:pt>
                <c:pt idx="49">
                  <c:v>6.2411516000000011</c:v>
                </c:pt>
                <c:pt idx="50">
                  <c:v>6.2411516000000011</c:v>
                </c:pt>
                <c:pt idx="51">
                  <c:v>6.1777317714285713</c:v>
                </c:pt>
                <c:pt idx="52">
                  <c:v>6.0292887857142858</c:v>
                </c:pt>
                <c:pt idx="53">
                  <c:v>5.7953567142857141</c:v>
                </c:pt>
                <c:pt idx="54">
                  <c:v>5.4850179142857138</c:v>
                </c:pt>
                <c:pt idx="55">
                  <c:v>5.1106579000000005</c:v>
                </c:pt>
                <c:pt idx="56">
                  <c:v>4.6848002428571434</c:v>
                </c:pt>
                <c:pt idx="57">
                  <c:v>4.2186693714285717</c:v>
                </c:pt>
                <c:pt idx="58">
                  <c:v>3.7851058285714285</c:v>
                </c:pt>
                <c:pt idx="59">
                  <c:v>3.4132992571428571</c:v>
                </c:pt>
                <c:pt idx="60">
                  <c:v>3.109653114285714</c:v>
                </c:pt>
                <c:pt idx="61">
                  <c:v>2.8696363857142857</c:v>
                </c:pt>
                <c:pt idx="62">
                  <c:v>2.6842973428571431</c:v>
                </c:pt>
                <c:pt idx="63">
                  <c:v>2.5436708714285712</c:v>
                </c:pt>
                <c:pt idx="64">
                  <c:v>2.4384195714285712</c:v>
                </c:pt>
                <c:pt idx="65">
                  <c:v>2.3640207714285713</c:v>
                </c:pt>
                <c:pt idx="66">
                  <c:v>2.312888157142857</c:v>
                </c:pt>
                <c:pt idx="67">
                  <c:v>2.2790841999999998</c:v>
                </c:pt>
                <c:pt idx="68">
                  <c:v>2.2580575571428567</c:v>
                </c:pt>
                <c:pt idx="69">
                  <c:v>2.2463744428571428</c:v>
                </c:pt>
                <c:pt idx="70">
                  <c:v>2.2414763999999998</c:v>
                </c:pt>
                <c:pt idx="71">
                  <c:v>2.2414763999999998</c:v>
                </c:pt>
                <c:pt idx="72">
                  <c:v>2.2414763999999998</c:v>
                </c:pt>
                <c:pt idx="73">
                  <c:v>2.2414763999999998</c:v>
                </c:pt>
                <c:pt idx="74">
                  <c:v>2.2414763999999998</c:v>
                </c:pt>
                <c:pt idx="75">
                  <c:v>2.2414763999999998</c:v>
                </c:pt>
                <c:pt idx="76">
                  <c:v>2.2414763999999998</c:v>
                </c:pt>
                <c:pt idx="77">
                  <c:v>2.2414763999999998</c:v>
                </c:pt>
                <c:pt idx="78">
                  <c:v>2.2414763999999998</c:v>
                </c:pt>
                <c:pt idx="79">
                  <c:v>2.2414763999999998</c:v>
                </c:pt>
                <c:pt idx="80">
                  <c:v>2.2414763999999998</c:v>
                </c:pt>
                <c:pt idx="81">
                  <c:v>2.2414763999999998</c:v>
                </c:pt>
                <c:pt idx="82">
                  <c:v>2.4319399428571424</c:v>
                </c:pt>
                <c:pt idx="83">
                  <c:v>2.8777465428571425</c:v>
                </c:pt>
                <c:pt idx="84">
                  <c:v>3.5802954857142852</c:v>
                </c:pt>
                <c:pt idx="85">
                  <c:v>4.5123104857142859</c:v>
                </c:pt>
                <c:pt idx="86">
                  <c:v>5.6365951142857131</c:v>
                </c:pt>
                <c:pt idx="87">
                  <c:v>6.9155383571428564</c:v>
                </c:pt>
                <c:pt idx="88">
                  <c:v>8.3154308428571433</c:v>
                </c:pt>
                <c:pt idx="89">
                  <c:v>9.6175165714285704</c:v>
                </c:pt>
                <c:pt idx="90">
                  <c:v>10.734132671428572</c:v>
                </c:pt>
                <c:pt idx="91">
                  <c:v>11.646048157142857</c:v>
                </c:pt>
                <c:pt idx="92">
                  <c:v>12.366870657142858</c:v>
                </c:pt>
                <c:pt idx="93">
                  <c:v>12.923484157142857</c:v>
                </c:pt>
                <c:pt idx="94">
                  <c:v>13.345816114285713</c:v>
                </c:pt>
                <c:pt idx="95">
                  <c:v>13.661908685714284</c:v>
                </c:pt>
                <c:pt idx="96">
                  <c:v>13.885344471428571</c:v>
                </c:pt>
                <c:pt idx="97">
                  <c:v>14.038906828571427</c:v>
                </c:pt>
                <c:pt idx="98">
                  <c:v>14.140427457142858</c:v>
                </c:pt>
                <c:pt idx="99">
                  <c:v>14.203575014285713</c:v>
                </c:pt>
                <c:pt idx="100">
                  <c:v>14.23866194285714</c:v>
                </c:pt>
                <c:pt idx="101">
                  <c:v>14.253371799999998</c:v>
                </c:pt>
                <c:pt idx="102">
                  <c:v>14.253371799999998</c:v>
                </c:pt>
                <c:pt idx="103">
                  <c:v>14.253371799999998</c:v>
                </c:pt>
                <c:pt idx="104">
                  <c:v>14.253371799999998</c:v>
                </c:pt>
                <c:pt idx="105">
                  <c:v>14.253371799999998</c:v>
                </c:pt>
                <c:pt idx="106">
                  <c:v>14.253371799999998</c:v>
                </c:pt>
                <c:pt idx="107">
                  <c:v>14.253371799999998</c:v>
                </c:pt>
                <c:pt idx="108">
                  <c:v>14.253371799999998</c:v>
                </c:pt>
                <c:pt idx="109">
                  <c:v>14.253371799999998</c:v>
                </c:pt>
                <c:pt idx="110">
                  <c:v>14.253371799999998</c:v>
                </c:pt>
                <c:pt idx="111">
                  <c:v>14.253371799999998</c:v>
                </c:pt>
                <c:pt idx="112">
                  <c:v>14.361076785714285</c:v>
                </c:pt>
                <c:pt idx="113">
                  <c:v>14.613175400000001</c:v>
                </c:pt>
                <c:pt idx="114">
                  <c:v>15.010458928571429</c:v>
                </c:pt>
                <c:pt idx="115">
                  <c:v>15.537502928571431</c:v>
                </c:pt>
                <c:pt idx="116">
                  <c:v>16.173273242857142</c:v>
                </c:pt>
                <c:pt idx="117">
                  <c:v>16.896501271428573</c:v>
                </c:pt>
                <c:pt idx="118">
                  <c:v>17.688124728571431</c:v>
                </c:pt>
                <c:pt idx="119">
                  <c:v>18.424439585714286</c:v>
                </c:pt>
                <c:pt idx="120">
                  <c:v>19.055873442857141</c:v>
                </c:pt>
                <c:pt idx="121">
                  <c:v>19.571551400000001</c:v>
                </c:pt>
                <c:pt idx="122">
                  <c:v>19.97916842857143</c:v>
                </c:pt>
                <c:pt idx="123">
                  <c:v>20.293927114285712</c:v>
                </c:pt>
                <c:pt idx="124">
                  <c:v>20.532751085714285</c:v>
                </c:pt>
                <c:pt idx="125">
                  <c:v>20.711497885714287</c:v>
                </c:pt>
                <c:pt idx="126">
                  <c:v>20.837848299999997</c:v>
                </c:pt>
                <c:pt idx="127">
                  <c:v>20.924686085714285</c:v>
                </c:pt>
                <c:pt idx="128">
                  <c:v>20.982094857142851</c:v>
                </c:pt>
                <c:pt idx="129">
                  <c:v>21.017804085714285</c:v>
                </c:pt>
                <c:pt idx="130">
                  <c:v>21.037645342857139</c:v>
                </c:pt>
                <c:pt idx="131">
                  <c:v>21.045963599999997</c:v>
                </c:pt>
                <c:pt idx="132">
                  <c:v>21.045963599999997</c:v>
                </c:pt>
                <c:pt idx="133">
                  <c:v>21.045963599999997</c:v>
                </c:pt>
                <c:pt idx="134">
                  <c:v>21.045963599999997</c:v>
                </c:pt>
                <c:pt idx="135">
                  <c:v>21.045963599999997</c:v>
                </c:pt>
                <c:pt idx="136">
                  <c:v>21.045963599999997</c:v>
                </c:pt>
                <c:pt idx="137">
                  <c:v>21.045963599999997</c:v>
                </c:pt>
                <c:pt idx="138">
                  <c:v>21.045963599999997</c:v>
                </c:pt>
                <c:pt idx="139">
                  <c:v>21.045963599999997</c:v>
                </c:pt>
                <c:pt idx="140">
                  <c:v>21.045963599999997</c:v>
                </c:pt>
                <c:pt idx="141">
                  <c:v>21.045963599999997</c:v>
                </c:pt>
                <c:pt idx="142">
                  <c:v>21.045963599999997</c:v>
                </c:pt>
                <c:pt idx="143">
                  <c:v>20.956753228571426</c:v>
                </c:pt>
                <c:pt idx="144">
                  <c:v>20.747943857142854</c:v>
                </c:pt>
                <c:pt idx="145">
                  <c:v>20.418880071428571</c:v>
                </c:pt>
                <c:pt idx="146">
                  <c:v>19.982337699999999</c:v>
                </c:pt>
                <c:pt idx="147">
                  <c:v>19.455739014285715</c:v>
                </c:pt>
                <c:pt idx="148">
                  <c:v>18.856700457142857</c:v>
                </c:pt>
                <c:pt idx="149">
                  <c:v>18.201011028571429</c:v>
                </c:pt>
                <c:pt idx="150">
                  <c:v>17.591132871428574</c:v>
                </c:pt>
                <c:pt idx="151">
                  <c:v>17.068126000000003</c:v>
                </c:pt>
                <c:pt idx="152">
                  <c:v>16.640997957142861</c:v>
                </c:pt>
                <c:pt idx="153">
                  <c:v>16.3033751</c:v>
                </c:pt>
                <c:pt idx="154">
                  <c:v>16.042665371428573</c:v>
                </c:pt>
                <c:pt idx="155">
                  <c:v>15.844851185714285</c:v>
                </c:pt>
                <c:pt idx="156">
                  <c:v>15.696797985714285</c:v>
                </c:pt>
                <c:pt idx="157">
                  <c:v>15.592143885714288</c:v>
                </c:pt>
                <c:pt idx="158">
                  <c:v>15.520217500000001</c:v>
                </c:pt>
                <c:pt idx="159">
                  <c:v>15.472666700000001</c:v>
                </c:pt>
                <c:pt idx="160">
                  <c:v>15.4430893</c:v>
                </c:pt>
                <c:pt idx="161">
                  <c:v>15.426655085714287</c:v>
                </c:pt>
                <c:pt idx="162">
                  <c:v>15.419765200000001</c:v>
                </c:pt>
                <c:pt idx="163">
                  <c:v>15.419765200000001</c:v>
                </c:pt>
                <c:pt idx="164">
                  <c:v>15.419765200000001</c:v>
                </c:pt>
                <c:pt idx="165">
                  <c:v>15.419765200000001</c:v>
                </c:pt>
                <c:pt idx="166">
                  <c:v>15.419765200000001</c:v>
                </c:pt>
                <c:pt idx="167">
                  <c:v>15.419765200000001</c:v>
                </c:pt>
                <c:pt idx="168">
                  <c:v>15.419765200000001</c:v>
                </c:pt>
                <c:pt idx="169">
                  <c:v>15.419765200000001</c:v>
                </c:pt>
                <c:pt idx="170">
                  <c:v>15.419765200000001</c:v>
                </c:pt>
                <c:pt idx="171">
                  <c:v>15.419765200000001</c:v>
                </c:pt>
                <c:pt idx="172">
                  <c:v>15.419765200000001</c:v>
                </c:pt>
                <c:pt idx="173">
                  <c:v>15.685848085714285</c:v>
                </c:pt>
                <c:pt idx="174">
                  <c:v>16.308652357142858</c:v>
                </c:pt>
                <c:pt idx="175">
                  <c:v>17.290132871428572</c:v>
                </c:pt>
                <c:pt idx="176">
                  <c:v>18.592183885714288</c:v>
                </c:pt>
                <c:pt idx="177">
                  <c:v>20.162840942857144</c:v>
                </c:pt>
                <c:pt idx="178">
                  <c:v>21.949560414285717</c:v>
                </c:pt>
                <c:pt idx="179">
                  <c:v>23.905249357142857</c:v>
                </c:pt>
                <c:pt idx="180">
                  <c:v>25.724299542857146</c:v>
                </c:pt>
                <c:pt idx="181">
                  <c:v>27.284243471428571</c:v>
                </c:pt>
                <c:pt idx="182">
                  <c:v>28.558214899999999</c:v>
                </c:pt>
                <c:pt idx="183">
                  <c:v>29.565224099999998</c:v>
                </c:pt>
                <c:pt idx="184">
                  <c:v>30.342828728571426</c:v>
                </c:pt>
                <c:pt idx="185">
                  <c:v>30.932838271428569</c:v>
                </c:pt>
                <c:pt idx="186">
                  <c:v>31.374428442857141</c:v>
                </c:pt>
                <c:pt idx="187">
                  <c:v>31.686574485714285</c:v>
                </c:pt>
                <c:pt idx="188">
                  <c:v>31.901105399999999</c:v>
                </c:pt>
                <c:pt idx="189">
                  <c:v>32.042932571428565</c:v>
                </c:pt>
                <c:pt idx="190">
                  <c:v>32.131151471428566</c:v>
                </c:pt>
                <c:pt idx="191">
                  <c:v>32.180168899999998</c:v>
                </c:pt>
                <c:pt idx="192">
                  <c:v>32.200718999999999</c:v>
                </c:pt>
                <c:pt idx="193">
                  <c:v>32.200718999999999</c:v>
                </c:pt>
                <c:pt idx="194">
                  <c:v>32.200718999999999</c:v>
                </c:pt>
                <c:pt idx="195">
                  <c:v>32.200718999999999</c:v>
                </c:pt>
                <c:pt idx="196">
                  <c:v>32.200718999999999</c:v>
                </c:pt>
                <c:pt idx="197">
                  <c:v>32.200718999999999</c:v>
                </c:pt>
                <c:pt idx="198">
                  <c:v>32.200718999999999</c:v>
                </c:pt>
                <c:pt idx="199">
                  <c:v>32.200718999999999</c:v>
                </c:pt>
                <c:pt idx="200">
                  <c:v>32.200718999999999</c:v>
                </c:pt>
                <c:pt idx="201">
                  <c:v>32.200718999999999</c:v>
                </c:pt>
                <c:pt idx="202">
                  <c:v>32.200718999999999</c:v>
                </c:pt>
                <c:pt idx="203">
                  <c:v>32.200718999999999</c:v>
                </c:pt>
                <c:pt idx="204">
                  <c:v>32.005753628571426</c:v>
                </c:pt>
                <c:pt idx="205">
                  <c:v>31.549409871428569</c:v>
                </c:pt>
                <c:pt idx="206">
                  <c:v>30.830255357142853</c:v>
                </c:pt>
                <c:pt idx="207">
                  <c:v>29.876211085714285</c:v>
                </c:pt>
                <c:pt idx="208">
                  <c:v>28.725352671428571</c:v>
                </c:pt>
                <c:pt idx="209">
                  <c:v>27.416180099999995</c:v>
                </c:pt>
                <c:pt idx="210">
                  <c:v>25.983199514285712</c:v>
                </c:pt>
                <c:pt idx="211">
                  <c:v>24.650337457142857</c:v>
                </c:pt>
                <c:pt idx="212">
                  <c:v>23.507328814285717</c:v>
                </c:pt>
                <c:pt idx="213">
                  <c:v>22.573859142857142</c:v>
                </c:pt>
                <c:pt idx="214">
                  <c:v>21.835999157142858</c:v>
                </c:pt>
                <c:pt idx="215">
                  <c:v>21.266229442857142</c:v>
                </c:pt>
                <c:pt idx="216">
                  <c:v>20.833915185714286</c:v>
                </c:pt>
                <c:pt idx="217">
                  <c:v>20.510351385714284</c:v>
                </c:pt>
                <c:pt idx="218">
                  <c:v>20.281634428571429</c:v>
                </c:pt>
                <c:pt idx="219">
                  <c:v>20.124442442857145</c:v>
                </c:pt>
                <c:pt idx="220">
                  <c:v>20.020522242857144</c:v>
                </c:pt>
                <c:pt idx="221">
                  <c:v>19.955882114285714</c:v>
                </c:pt>
                <c:pt idx="222">
                  <c:v>19.919965857142859</c:v>
                </c:pt>
                <c:pt idx="223">
                  <c:v>19.904908299999999</c:v>
                </c:pt>
                <c:pt idx="224">
                  <c:v>19.904908299999999</c:v>
                </c:pt>
                <c:pt idx="225">
                  <c:v>19.904908299999999</c:v>
                </c:pt>
                <c:pt idx="226">
                  <c:v>19.904908299999999</c:v>
                </c:pt>
                <c:pt idx="227">
                  <c:v>19.904908299999999</c:v>
                </c:pt>
                <c:pt idx="228">
                  <c:v>19.904908299999999</c:v>
                </c:pt>
                <c:pt idx="229">
                  <c:v>19.904908299999999</c:v>
                </c:pt>
                <c:pt idx="230">
                  <c:v>19.904908299999999</c:v>
                </c:pt>
                <c:pt idx="231">
                  <c:v>19.904908299999999</c:v>
                </c:pt>
                <c:pt idx="232">
                  <c:v>19.904908299999999</c:v>
                </c:pt>
                <c:pt idx="233">
                  <c:v>19.904908299999999</c:v>
                </c:pt>
                <c:pt idx="234">
                  <c:v>19.904908299999999</c:v>
                </c:pt>
                <c:pt idx="235">
                  <c:v>19.646557471428572</c:v>
                </c:pt>
                <c:pt idx="236">
                  <c:v>19.041851142857144</c:v>
                </c:pt>
                <c:pt idx="237">
                  <c:v>18.088891271428572</c:v>
                </c:pt>
                <c:pt idx="238">
                  <c:v>16.8246763</c:v>
                </c:pt>
                <c:pt idx="239">
                  <c:v>15.299660657142857</c:v>
                </c:pt>
                <c:pt idx="240">
                  <c:v>13.564861114285716</c:v>
                </c:pt>
                <c:pt idx="241">
                  <c:v>11.666002157142858</c:v>
                </c:pt>
                <c:pt idx="242">
                  <c:v>9.8998113857142851</c:v>
                </c:pt>
                <c:pt idx="243">
                  <c:v>8.3851975571428561</c:v>
                </c:pt>
                <c:pt idx="244">
                  <c:v>7.1482462142857139</c:v>
                </c:pt>
                <c:pt idx="245">
                  <c:v>6.1704994999999991</c:v>
                </c:pt>
                <c:pt idx="246">
                  <c:v>5.4154911285714276</c:v>
                </c:pt>
                <c:pt idx="247">
                  <c:v>4.8426265428571424</c:v>
                </c:pt>
                <c:pt idx="248">
                  <c:v>4.413868442857142</c:v>
                </c:pt>
                <c:pt idx="249">
                  <c:v>4.1107929857142862</c:v>
                </c:pt>
                <c:pt idx="250">
                  <c:v>3.9024960857142861</c:v>
                </c:pt>
                <c:pt idx="251">
                  <c:v>3.7647902428571429</c:v>
                </c:pt>
                <c:pt idx="252">
                  <c:v>3.6791348714285723</c:v>
                </c:pt>
                <c:pt idx="253">
                  <c:v>3.6315418285714292</c:v>
                </c:pt>
                <c:pt idx="254">
                  <c:v>3.6115889000000005</c:v>
                </c:pt>
                <c:pt idx="255">
                  <c:v>4.2319317999999999</c:v>
                </c:pt>
                <c:pt idx="256">
                  <c:v>5.9271419428571432</c:v>
                </c:pt>
                <c:pt idx="257">
                  <c:v>8.7972985857142856</c:v>
                </c:pt>
                <c:pt idx="258">
                  <c:v>12.325210314285714</c:v>
                </c:pt>
                <c:pt idx="259">
                  <c:v>15.520313442857143</c:v>
                </c:pt>
                <c:pt idx="260">
                  <c:v>17.964746399999999</c:v>
                </c:pt>
                <c:pt idx="261">
                  <c:v>19.68546632857143</c:v>
                </c:pt>
                <c:pt idx="262">
                  <c:v>20.217576614285715</c:v>
                </c:pt>
                <c:pt idx="263">
                  <c:v>19.269055028571426</c:v>
                </c:pt>
                <c:pt idx="264">
                  <c:v>16.905052828571428</c:v>
                </c:pt>
                <c:pt idx="265">
                  <c:v>14.195973728571428</c:v>
                </c:pt>
                <c:pt idx="266">
                  <c:v>12.50811617142857</c:v>
                </c:pt>
                <c:pt idx="267">
                  <c:v>13.982377414285713</c:v>
                </c:pt>
                <c:pt idx="268">
                  <c:v>17.948075928571431</c:v>
                </c:pt>
                <c:pt idx="269">
                  <c:v>23.242199599999999</c:v>
                </c:pt>
                <c:pt idx="270">
                  <c:v>29.758237785714289</c:v>
                </c:pt>
                <c:pt idx="271">
                  <c:v>36.454253328571426</c:v>
                </c:pt>
                <c:pt idx="272">
                  <c:v>42.23847551428571</c:v>
                </c:pt>
                <c:pt idx="273">
                  <c:v>47.488015242857145</c:v>
                </c:pt>
                <c:pt idx="274">
                  <c:v>50.154360657142853</c:v>
                </c:pt>
                <c:pt idx="275">
                  <c:v>51.135958957142854</c:v>
                </c:pt>
                <c:pt idx="276">
                  <c:v>51.52472341428571</c:v>
                </c:pt>
                <c:pt idx="277">
                  <c:v>51.983604557142861</c:v>
                </c:pt>
                <c:pt idx="278">
                  <c:v>53.301407371428574</c:v>
                </c:pt>
                <c:pt idx="279">
                  <c:v>54.095036857142858</c:v>
                </c:pt>
                <c:pt idx="280">
                  <c:v>52.951755571428571</c:v>
                </c:pt>
                <c:pt idx="281">
                  <c:v>50.361724257142853</c:v>
                </c:pt>
                <c:pt idx="282">
                  <c:v>46.445615099999991</c:v>
                </c:pt>
                <c:pt idx="283">
                  <c:v>41.48831281428572</c:v>
                </c:pt>
                <c:pt idx="284">
                  <c:v>35.060195071428573</c:v>
                </c:pt>
                <c:pt idx="285">
                  <c:v>27.453824214285721</c:v>
                </c:pt>
                <c:pt idx="286">
                  <c:v>20.731790771428571</c:v>
                </c:pt>
                <c:pt idx="287">
                  <c:v>15.6449075</c:v>
                </c:pt>
                <c:pt idx="288">
                  <c:v>12.084153757142856</c:v>
                </c:pt>
                <c:pt idx="289">
                  <c:v>9.7115391285714292</c:v>
                </c:pt>
                <c:pt idx="290">
                  <c:v>8.1791277428571423</c:v>
                </c:pt>
                <c:pt idx="291">
                  <c:v>7.2111420571428564</c:v>
                </c:pt>
                <c:pt idx="292">
                  <c:v>6.6096851714285707</c:v>
                </c:pt>
                <c:pt idx="293">
                  <c:v>6.2395572142857132</c:v>
                </c:pt>
                <c:pt idx="294">
                  <c:v>6.0164154714285711</c:v>
                </c:pt>
                <c:pt idx="295">
                  <c:v>5.7946885285714274</c:v>
                </c:pt>
                <c:pt idx="296">
                  <c:v>5.5059900285714276</c:v>
                </c:pt>
                <c:pt idx="297">
                  <c:v>5.1283572142857139</c:v>
                </c:pt>
                <c:pt idx="298">
                  <c:v>4.6612729428571429</c:v>
                </c:pt>
                <c:pt idx="299">
                  <c:v>4.1157354571428577</c:v>
                </c:pt>
                <c:pt idx="300">
                  <c:v>3.5039675285714291</c:v>
                </c:pt>
                <c:pt idx="301">
                  <c:v>2.8354878142857145</c:v>
                </c:pt>
                <c:pt idx="302">
                  <c:v>2.213714</c:v>
                </c:pt>
                <c:pt idx="303">
                  <c:v>1.6805073857142856</c:v>
                </c:pt>
                <c:pt idx="304">
                  <c:v>1.2450494285714286</c:v>
                </c:pt>
                <c:pt idx="305">
                  <c:v>0.90084219999999993</c:v>
                </c:pt>
                <c:pt idx="306">
                  <c:v>0.63504807142857145</c:v>
                </c:pt>
                <c:pt idx="307">
                  <c:v>0.43337608571428576</c:v>
                </c:pt>
                <c:pt idx="308">
                  <c:v>0.28243552857142856</c:v>
                </c:pt>
                <c:pt idx="309">
                  <c:v>0.17574045714285713</c:v>
                </c:pt>
                <c:pt idx="310">
                  <c:v>0.10241134285714286</c:v>
                </c:pt>
                <c:pt idx="311">
                  <c:v>5.3933200000000001E-2</c:v>
                </c:pt>
                <c:pt idx="312">
                  <c:v>2.3778971428571431E-2</c:v>
                </c:pt>
                <c:pt idx="313">
                  <c:v>7.0242571428571427E-3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.20408437142857141</c:v>
                </c:pt>
                <c:pt idx="357">
                  <c:v>0.68177241428571433</c:v>
                </c:pt>
                <c:pt idx="358">
                  <c:v>1.4345635142857145</c:v>
                </c:pt>
                <c:pt idx="359">
                  <c:v>2.4332307285714285</c:v>
                </c:pt>
                <c:pt idx="360">
                  <c:v>3.637917557142857</c:v>
                </c:pt>
                <c:pt idx="361">
                  <c:v>5.0083232714285719</c:v>
                </c:pt>
                <c:pt idx="362">
                  <c:v>6.5083278000000009</c:v>
                </c:pt>
                <c:pt idx="363">
                  <c:v>7.9035310285714289</c:v>
                </c:pt>
                <c:pt idx="364">
                  <c:v>9.1000009285714292</c:v>
                </c:pt>
                <c:pt idx="365">
                  <c:v>10.077131228571428</c:v>
                </c:pt>
                <c:pt idx="366">
                  <c:v>10.8495027</c:v>
                </c:pt>
                <c:pt idx="367">
                  <c:v>11.445921914285714</c:v>
                </c:pt>
                <c:pt idx="368">
                  <c:v>11.898456557142856</c:v>
                </c:pt>
                <c:pt idx="369">
                  <c:v>12.237154214285713</c:v>
                </c:pt>
                <c:pt idx="370">
                  <c:v>12.476568799999999</c:v>
                </c:pt>
                <c:pt idx="371">
                  <c:v>12.641113042857143</c:v>
                </c:pt>
                <c:pt idx="372">
                  <c:v>12.74989382857143</c:v>
                </c:pt>
                <c:pt idx="373">
                  <c:v>12.81755732857143</c:v>
                </c:pt>
                <c:pt idx="374">
                  <c:v>12.855153471428574</c:v>
                </c:pt>
                <c:pt idx="375">
                  <c:v>12.870915300000004</c:v>
                </c:pt>
                <c:pt idx="376">
                  <c:v>12.870915300000004</c:v>
                </c:pt>
                <c:pt idx="377">
                  <c:v>12.870915300000004</c:v>
                </c:pt>
                <c:pt idx="378">
                  <c:v>12.870915300000004</c:v>
                </c:pt>
                <c:pt idx="379">
                  <c:v>12.870915300000004</c:v>
                </c:pt>
                <c:pt idx="380">
                  <c:v>12.870915300000004</c:v>
                </c:pt>
                <c:pt idx="381">
                  <c:v>12.870915300000004</c:v>
                </c:pt>
                <c:pt idx="382">
                  <c:v>12.870915300000004</c:v>
                </c:pt>
                <c:pt idx="383">
                  <c:v>12.870915300000004</c:v>
                </c:pt>
                <c:pt idx="384">
                  <c:v>12.870915300000004</c:v>
                </c:pt>
                <c:pt idx="385">
                  <c:v>12.870915300000004</c:v>
                </c:pt>
                <c:pt idx="386">
                  <c:v>13.086051571428573</c:v>
                </c:pt>
                <c:pt idx="387">
                  <c:v>13.589608171428571</c:v>
                </c:pt>
                <c:pt idx="388">
                  <c:v>14.383165657142856</c:v>
                </c:pt>
                <c:pt idx="389">
                  <c:v>15.435914357142858</c:v>
                </c:pt>
                <c:pt idx="390">
                  <c:v>16.705839385714288</c:v>
                </c:pt>
                <c:pt idx="391">
                  <c:v>18.150457585714285</c:v>
                </c:pt>
                <c:pt idx="392">
                  <c:v>19.731692842857143</c:v>
                </c:pt>
                <c:pt idx="393">
                  <c:v>21.202451442857146</c:v>
                </c:pt>
                <c:pt idx="394">
                  <c:v>22.463714571428572</c:v>
                </c:pt>
                <c:pt idx="395">
                  <c:v>23.493760057142861</c:v>
                </c:pt>
                <c:pt idx="396">
                  <c:v>24.307958271428578</c:v>
                </c:pt>
                <c:pt idx="397">
                  <c:v>24.936675771428575</c:v>
                </c:pt>
                <c:pt idx="398">
                  <c:v>25.413716814285717</c:v>
                </c:pt>
                <c:pt idx="399">
                  <c:v>25.770756185714284</c:v>
                </c:pt>
                <c:pt idx="400">
                  <c:v>26.023135942857145</c:v>
                </c:pt>
                <c:pt idx="401">
                  <c:v>26.196590842857141</c:v>
                </c:pt>
                <c:pt idx="402">
                  <c:v>26.311262499999998</c:v>
                </c:pt>
                <c:pt idx="403">
                  <c:v>26.38259021428571</c:v>
                </c:pt>
                <c:pt idx="404">
                  <c:v>26.422222314285712</c:v>
                </c:pt>
                <c:pt idx="405">
                  <c:v>26.438837699999997</c:v>
                </c:pt>
                <c:pt idx="406">
                  <c:v>26.438837699999997</c:v>
                </c:pt>
                <c:pt idx="407">
                  <c:v>26.438837699999997</c:v>
                </c:pt>
                <c:pt idx="408">
                  <c:v>26.438837699999997</c:v>
                </c:pt>
                <c:pt idx="409">
                  <c:v>26.438837699999997</c:v>
                </c:pt>
                <c:pt idx="410">
                  <c:v>26.438837699999997</c:v>
                </c:pt>
                <c:pt idx="411">
                  <c:v>26.438837699999997</c:v>
                </c:pt>
                <c:pt idx="412">
                  <c:v>26.438837699999997</c:v>
                </c:pt>
                <c:pt idx="413">
                  <c:v>26.438837699999997</c:v>
                </c:pt>
                <c:pt idx="414">
                  <c:v>26.438837699999997</c:v>
                </c:pt>
                <c:pt idx="415">
                  <c:v>26.438837699999997</c:v>
                </c:pt>
                <c:pt idx="416">
                  <c:v>26.438837699999997</c:v>
                </c:pt>
                <c:pt idx="417">
                  <c:v>27.158930699999996</c:v>
                </c:pt>
                <c:pt idx="418">
                  <c:v>28.844409257142853</c:v>
                </c:pt>
                <c:pt idx="419">
                  <c:v>31.500563742857143</c:v>
                </c:pt>
                <c:pt idx="420">
                  <c:v>35.024269614285721</c:v>
                </c:pt>
                <c:pt idx="421">
                  <c:v>39.274896842857139</c:v>
                </c:pt>
                <c:pt idx="422">
                  <c:v>44.110248014285716</c:v>
                </c:pt>
                <c:pt idx="423">
                  <c:v>49.402876728571421</c:v>
                </c:pt>
                <c:pt idx="424">
                  <c:v>54.325723642857149</c:v>
                </c:pt>
                <c:pt idx="425">
                  <c:v>58.547358200000005</c:v>
                </c:pt>
                <c:pt idx="426">
                  <c:v>61.99507304285715</c:v>
                </c:pt>
                <c:pt idx="427">
                  <c:v>64.720315100000008</c:v>
                </c:pt>
                <c:pt idx="428">
                  <c:v>66.824725728571437</c:v>
                </c:pt>
                <c:pt idx="429">
                  <c:v>68.421452785714294</c:v>
                </c:pt>
                <c:pt idx="430">
                  <c:v>69.616516457142851</c:v>
                </c:pt>
                <c:pt idx="431">
                  <c:v>70.461268928571414</c:v>
                </c:pt>
                <c:pt idx="432">
                  <c:v>71.04184819999999</c:v>
                </c:pt>
                <c:pt idx="433">
                  <c:v>71.425671257142852</c:v>
                </c:pt>
                <c:pt idx="434">
                  <c:v>71.66441571428571</c:v>
                </c:pt>
                <c:pt idx="435">
                  <c:v>71.797070242857131</c:v>
                </c:pt>
                <c:pt idx="436">
                  <c:v>71.852684400000001</c:v>
                </c:pt>
                <c:pt idx="437">
                  <c:v>72.822484271428564</c:v>
                </c:pt>
                <c:pt idx="438">
                  <c:v>75.248838557142861</c:v>
                </c:pt>
                <c:pt idx="439">
                  <c:v>78.804674757142848</c:v>
                </c:pt>
                <c:pt idx="440">
                  <c:v>83.149326914285709</c:v>
                </c:pt>
                <c:pt idx="441">
                  <c:v>88.075886357142863</c:v>
                </c:pt>
                <c:pt idx="442">
                  <c:v>93.353299314285707</c:v>
                </c:pt>
                <c:pt idx="443">
                  <c:v>98.757055057142836</c:v>
                </c:pt>
                <c:pt idx="444">
                  <c:v>103.2756289</c:v>
                </c:pt>
                <c:pt idx="445">
                  <c:v>106.39454555714283</c:v>
                </c:pt>
                <c:pt idx="446">
                  <c:v>108.43410632857142</c:v>
                </c:pt>
                <c:pt idx="447">
                  <c:v>109.74663048571428</c:v>
                </c:pt>
                <c:pt idx="448">
                  <c:v>112.77872531428571</c:v>
                </c:pt>
                <c:pt idx="449">
                  <c:v>117.9409789</c:v>
                </c:pt>
                <c:pt idx="450">
                  <c:v>124.78714645714285</c:v>
                </c:pt>
                <c:pt idx="451">
                  <c:v>132.65389377142859</c:v>
                </c:pt>
                <c:pt idx="452">
                  <c:v>141.25712534285714</c:v>
                </c:pt>
                <c:pt idx="453">
                  <c:v>151.20249921428572</c:v>
                </c:pt>
                <c:pt idx="454">
                  <c:v>163.59078644285714</c:v>
                </c:pt>
                <c:pt idx="455">
                  <c:v>177.03024362857144</c:v>
                </c:pt>
                <c:pt idx="456">
                  <c:v>190.68375145714285</c:v>
                </c:pt>
                <c:pt idx="457">
                  <c:v>204.89952174285716</c:v>
                </c:pt>
                <c:pt idx="458">
                  <c:v>220.58422367142859</c:v>
                </c:pt>
                <c:pt idx="459">
                  <c:v>239.02381948571428</c:v>
                </c:pt>
                <c:pt idx="460">
                  <c:v>259.07434604285714</c:v>
                </c:pt>
                <c:pt idx="461">
                  <c:v>278.06438918571428</c:v>
                </c:pt>
                <c:pt idx="462">
                  <c:v>295.14352221428572</c:v>
                </c:pt>
                <c:pt idx="463">
                  <c:v>310.37875255714283</c:v>
                </c:pt>
                <c:pt idx="464">
                  <c:v>322.15551392857145</c:v>
                </c:pt>
                <c:pt idx="465">
                  <c:v>329.59330975714289</c:v>
                </c:pt>
                <c:pt idx="466">
                  <c:v>333.44582001428574</c:v>
                </c:pt>
                <c:pt idx="467">
                  <c:v>333.19081247142861</c:v>
                </c:pt>
                <c:pt idx="468">
                  <c:v>328.28618285714282</c:v>
                </c:pt>
                <c:pt idx="469">
                  <c:v>319.3709421142857</c:v>
                </c:pt>
                <c:pt idx="470">
                  <c:v>307.79033084285714</c:v>
                </c:pt>
                <c:pt idx="471">
                  <c:v>295.08986447142854</c:v>
                </c:pt>
                <c:pt idx="472">
                  <c:v>284.10209157142856</c:v>
                </c:pt>
                <c:pt idx="473">
                  <c:v>273.59093859999996</c:v>
                </c:pt>
                <c:pt idx="474">
                  <c:v>264.72560905714283</c:v>
                </c:pt>
                <c:pt idx="475">
                  <c:v>257.41151631428573</c:v>
                </c:pt>
                <c:pt idx="476">
                  <c:v>252.00434487142857</c:v>
                </c:pt>
                <c:pt idx="477">
                  <c:v>248.45846142857141</c:v>
                </c:pt>
                <c:pt idx="478">
                  <c:v>247.50288079999999</c:v>
                </c:pt>
                <c:pt idx="479">
                  <c:v>247.55766937142857</c:v>
                </c:pt>
                <c:pt idx="480">
                  <c:v>249.0506086</c:v>
                </c:pt>
                <c:pt idx="481">
                  <c:v>252.96255605714285</c:v>
                </c:pt>
                <c:pt idx="482">
                  <c:v>259.17798335714286</c:v>
                </c:pt>
                <c:pt idx="483">
                  <c:v>265.15180872857144</c:v>
                </c:pt>
                <c:pt idx="484">
                  <c:v>269.33774161428573</c:v>
                </c:pt>
                <c:pt idx="485">
                  <c:v>270.33291652857145</c:v>
                </c:pt>
                <c:pt idx="486">
                  <c:v>268.84671212857143</c:v>
                </c:pt>
                <c:pt idx="487">
                  <c:v>266.13953507142861</c:v>
                </c:pt>
                <c:pt idx="488">
                  <c:v>261.08925857142856</c:v>
                </c:pt>
                <c:pt idx="489">
                  <c:v>254.87715292857143</c:v>
                </c:pt>
                <c:pt idx="490">
                  <c:v>248.61832759999999</c:v>
                </c:pt>
                <c:pt idx="491">
                  <c:v>244.15868551428571</c:v>
                </c:pt>
                <c:pt idx="492">
                  <c:v>241.93527844285714</c:v>
                </c:pt>
                <c:pt idx="493">
                  <c:v>241.79677318571427</c:v>
                </c:pt>
                <c:pt idx="494">
                  <c:v>240.26429081428572</c:v>
                </c:pt>
                <c:pt idx="495">
                  <c:v>235.57872312857145</c:v>
                </c:pt>
                <c:pt idx="496">
                  <c:v>228.29491987142859</c:v>
                </c:pt>
                <c:pt idx="497">
                  <c:v>219.17066032857147</c:v>
                </c:pt>
                <c:pt idx="498">
                  <c:v>207.91654612857141</c:v>
                </c:pt>
                <c:pt idx="499">
                  <c:v>195.90483884285712</c:v>
                </c:pt>
                <c:pt idx="500">
                  <c:v>182.83685500000001</c:v>
                </c:pt>
                <c:pt idx="501">
                  <c:v>170.75191762857142</c:v>
                </c:pt>
                <c:pt idx="502">
                  <c:v>164.18614384285715</c:v>
                </c:pt>
                <c:pt idx="503">
                  <c:v>163.2497831</c:v>
                </c:pt>
                <c:pt idx="504">
                  <c:v>167.07723982857144</c:v>
                </c:pt>
                <c:pt idx="505">
                  <c:v>174.36661831428572</c:v>
                </c:pt>
                <c:pt idx="506">
                  <c:v>183.91249144285717</c:v>
                </c:pt>
                <c:pt idx="507">
                  <c:v>195.46297502857144</c:v>
                </c:pt>
                <c:pt idx="508">
                  <c:v>209.15395905714286</c:v>
                </c:pt>
                <c:pt idx="509">
                  <c:v>217.38392342857148</c:v>
                </c:pt>
                <c:pt idx="510">
                  <c:v>218.27095874285718</c:v>
                </c:pt>
                <c:pt idx="511">
                  <c:v>212.80321897142858</c:v>
                </c:pt>
                <c:pt idx="512">
                  <c:v>203.52440427142861</c:v>
                </c:pt>
                <c:pt idx="513">
                  <c:v>189.53025921428571</c:v>
                </c:pt>
                <c:pt idx="514">
                  <c:v>170.5821341857143</c:v>
                </c:pt>
                <c:pt idx="515">
                  <c:v>146.73393795714284</c:v>
                </c:pt>
                <c:pt idx="516">
                  <c:v>123.71895721428572</c:v>
                </c:pt>
                <c:pt idx="517">
                  <c:v>104.2552057857143</c:v>
                </c:pt>
                <c:pt idx="518">
                  <c:v>88.100739357142871</c:v>
                </c:pt>
                <c:pt idx="519">
                  <c:v>73.514460942857141</c:v>
                </c:pt>
                <c:pt idx="520">
                  <c:v>61.874969928571424</c:v>
                </c:pt>
                <c:pt idx="521">
                  <c:v>53.119996342857142</c:v>
                </c:pt>
                <c:pt idx="522">
                  <c:v>46.579017000000007</c:v>
                </c:pt>
                <c:pt idx="523">
                  <c:v>41.38529854285715</c:v>
                </c:pt>
                <c:pt idx="524">
                  <c:v>36.59242834285714</c:v>
                </c:pt>
                <c:pt idx="525">
                  <c:v>31.944735157142855</c:v>
                </c:pt>
                <c:pt idx="526">
                  <c:v>27.392626571428568</c:v>
                </c:pt>
                <c:pt idx="527">
                  <c:v>23.126968028571422</c:v>
                </c:pt>
                <c:pt idx="528">
                  <c:v>19.289632857142859</c:v>
                </c:pt>
                <c:pt idx="529">
                  <c:v>15.838501028571427</c:v>
                </c:pt>
                <c:pt idx="530">
                  <c:v>12.737893485714284</c:v>
                </c:pt>
                <c:pt idx="531">
                  <c:v>10.324562314285714</c:v>
                </c:pt>
                <c:pt idx="532">
                  <c:v>8.6093946142857138</c:v>
                </c:pt>
                <c:pt idx="533">
                  <c:v>7.4554801857142854</c:v>
                </c:pt>
                <c:pt idx="534">
                  <c:v>6.7089964714285699</c:v>
                </c:pt>
                <c:pt idx="535">
                  <c:v>5.9928550714285702</c:v>
                </c:pt>
                <c:pt idx="536">
                  <c:v>5.1231519571428565</c:v>
                </c:pt>
                <c:pt idx="537">
                  <c:v>4.1566651285714284</c:v>
                </c:pt>
                <c:pt idx="538">
                  <c:v>3.348183157142858</c:v>
                </c:pt>
                <c:pt idx="539">
                  <c:v>2.7789184142857146</c:v>
                </c:pt>
                <c:pt idx="540">
                  <c:v>2.4302198428571429</c:v>
                </c:pt>
                <c:pt idx="541">
                  <c:v>2.2561261857142858</c:v>
                </c:pt>
                <c:pt idx="542">
                  <c:v>2.2101655428571427</c:v>
                </c:pt>
                <c:pt idx="543">
                  <c:v>2.2546027428571427</c:v>
                </c:pt>
                <c:pt idx="544">
                  <c:v>2.3615160285714287</c:v>
                </c:pt>
                <c:pt idx="545">
                  <c:v>3.6588117000000002</c:v>
                </c:pt>
                <c:pt idx="546">
                  <c:v>6.4974056428571432</c:v>
                </c:pt>
                <c:pt idx="547">
                  <c:v>10.468691042857143</c:v>
                </c:pt>
                <c:pt idx="548">
                  <c:v>20.099225214285713</c:v>
                </c:pt>
                <c:pt idx="549">
                  <c:v>36.428445242857144</c:v>
                </c:pt>
                <c:pt idx="550">
                  <c:v>58.853665028571427</c:v>
                </c:pt>
                <c:pt idx="551">
                  <c:v>81.088183814285713</c:v>
                </c:pt>
                <c:pt idx="552">
                  <c:v>99.733313271428557</c:v>
                </c:pt>
                <c:pt idx="553">
                  <c:v>113.99009987142857</c:v>
                </c:pt>
                <c:pt idx="554">
                  <c:v>124.48426338571429</c:v>
                </c:pt>
                <c:pt idx="555">
                  <c:v>127.20862804285716</c:v>
                </c:pt>
                <c:pt idx="556">
                  <c:v>121.43885034285712</c:v>
                </c:pt>
                <c:pt idx="557">
                  <c:v>108.19425784285716</c:v>
                </c:pt>
                <c:pt idx="558">
                  <c:v>93.956321928571427</c:v>
                </c:pt>
                <c:pt idx="559">
                  <c:v>81.688997085714277</c:v>
                </c:pt>
                <c:pt idx="560">
                  <c:v>72.099866699999993</c:v>
                </c:pt>
                <c:pt idx="561">
                  <c:v>65.06178604285715</c:v>
                </c:pt>
                <c:pt idx="562">
                  <c:v>60.444416742857143</c:v>
                </c:pt>
                <c:pt idx="563">
                  <c:v>58.670620085714283</c:v>
                </c:pt>
                <c:pt idx="564">
                  <c:v>58.502947985714293</c:v>
                </c:pt>
                <c:pt idx="565">
                  <c:v>58.749336300000003</c:v>
                </c:pt>
                <c:pt idx="566">
                  <c:v>58.724775628571436</c:v>
                </c:pt>
                <c:pt idx="567">
                  <c:v>58.909540085714298</c:v>
                </c:pt>
                <c:pt idx="568">
                  <c:v>59.169864328571443</c:v>
                </c:pt>
                <c:pt idx="569">
                  <c:v>59.946359200000011</c:v>
                </c:pt>
                <c:pt idx="570">
                  <c:v>60.461215514285719</c:v>
                </c:pt>
                <c:pt idx="571">
                  <c:v>61.029067485714286</c:v>
                </c:pt>
                <c:pt idx="572">
                  <c:v>61.779746542857147</c:v>
                </c:pt>
                <c:pt idx="573">
                  <c:v>62.740175742857147</c:v>
                </c:pt>
                <c:pt idx="574">
                  <c:v>63.108606714285713</c:v>
                </c:pt>
                <c:pt idx="575">
                  <c:v>62.814247314285716</c:v>
                </c:pt>
                <c:pt idx="576">
                  <c:v>61.360872928571432</c:v>
                </c:pt>
                <c:pt idx="577">
                  <c:v>58.906114700000003</c:v>
                </c:pt>
                <c:pt idx="578">
                  <c:v>55.466066471428583</c:v>
                </c:pt>
                <c:pt idx="579">
                  <c:v>51.200339285714286</c:v>
                </c:pt>
                <c:pt idx="580">
                  <c:v>45.985335785714291</c:v>
                </c:pt>
                <c:pt idx="581">
                  <c:v>40.120960614285707</c:v>
                </c:pt>
                <c:pt idx="582">
                  <c:v>34.030920714285706</c:v>
                </c:pt>
                <c:pt idx="583">
                  <c:v>27.652856914285717</c:v>
                </c:pt>
                <c:pt idx="584">
                  <c:v>21.074476814285713</c:v>
                </c:pt>
                <c:pt idx="585">
                  <c:v>14.930163328571428</c:v>
                </c:pt>
                <c:pt idx="586">
                  <c:v>10.02511964285714</c:v>
                </c:pt>
                <c:pt idx="587">
                  <c:v>6.4919179999999992</c:v>
                </c:pt>
                <c:pt idx="588">
                  <c:v>4.0917811000000004</c:v>
                </c:pt>
                <c:pt idx="589">
                  <c:v>2.5239433428571423</c:v>
                </c:pt>
                <c:pt idx="590">
                  <c:v>1.5277208285714285</c:v>
                </c:pt>
                <c:pt idx="591">
                  <c:v>0.90677398571428569</c:v>
                </c:pt>
                <c:pt idx="592">
                  <c:v>0.52611134285714278</c:v>
                </c:pt>
                <c:pt idx="593">
                  <c:v>0.29666594285714293</c:v>
                </c:pt>
                <c:pt idx="594">
                  <c:v>0.16069054285714282</c:v>
                </c:pt>
                <c:pt idx="595">
                  <c:v>8.2390128571428564E-2</c:v>
                </c:pt>
                <c:pt idx="596">
                  <c:v>3.8615099999999999E-2</c:v>
                </c:pt>
                <c:pt idx="597">
                  <c:v>1.511254285714286E-2</c:v>
                </c:pt>
                <c:pt idx="598">
                  <c:v>4.1378142857142856E-3</c:v>
                </c:pt>
                <c:pt idx="599">
                  <c:v>4.7705714285714286E-4</c:v>
                </c:pt>
                <c:pt idx="600">
                  <c:v>0</c:v>
                </c:pt>
                <c:pt idx="601">
                  <c:v>0</c:v>
                </c:pt>
                <c:pt idx="602">
                  <c:v>0</c:v>
                </c:pt>
                <c:pt idx="603">
                  <c:v>0</c:v>
                </c:pt>
                <c:pt idx="604">
                  <c:v>0.21586332857142859</c:v>
                </c:pt>
                <c:pt idx="605">
                  <c:v>0.72439037142857143</c:v>
                </c:pt>
                <c:pt idx="606">
                  <c:v>1.4474231999999998</c:v>
                </c:pt>
                <c:pt idx="607">
                  <c:v>2.2922418571428573</c:v>
                </c:pt>
                <c:pt idx="608">
                  <c:v>3.2419074571428572</c:v>
                </c:pt>
                <c:pt idx="609">
                  <c:v>4.2508514857142856</c:v>
                </c:pt>
                <c:pt idx="610">
                  <c:v>5.2933265714285715</c:v>
                </c:pt>
                <c:pt idx="611">
                  <c:v>6.1327390571428566</c:v>
                </c:pt>
                <c:pt idx="612">
                  <c:v>6.6818536999999996</c:v>
                </c:pt>
                <c:pt idx="613">
                  <c:v>7.036511428571429</c:v>
                </c:pt>
                <c:pt idx="614">
                  <c:v>7.3328422142857139</c:v>
                </c:pt>
                <c:pt idx="615">
                  <c:v>7.5580636571428572</c:v>
                </c:pt>
                <c:pt idx="616">
                  <c:v>7.7498463142857137</c:v>
                </c:pt>
                <c:pt idx="617">
                  <c:v>7.9254553857142858</c:v>
                </c:pt>
                <c:pt idx="618">
                  <c:v>8.092382971428572</c:v>
                </c:pt>
                <c:pt idx="619">
                  <c:v>8.2469943000000008</c:v>
                </c:pt>
                <c:pt idx="620">
                  <c:v>8.3982683428571416</c:v>
                </c:pt>
                <c:pt idx="621">
                  <c:v>8.5083569571428566</c:v>
                </c:pt>
                <c:pt idx="622">
                  <c:v>8.6043814571428587</c:v>
                </c:pt>
                <c:pt idx="623">
                  <c:v>8.6681413571428561</c:v>
                </c:pt>
                <c:pt idx="624">
                  <c:v>8.6982637857142855</c:v>
                </c:pt>
                <c:pt idx="625">
                  <c:v>8.7056264428571417</c:v>
                </c:pt>
                <c:pt idx="626">
                  <c:v>8.7155940857142848</c:v>
                </c:pt>
                <c:pt idx="627">
                  <c:v>8.703116257142856</c:v>
                </c:pt>
                <c:pt idx="628">
                  <c:v>8.668601985714286</c:v>
                </c:pt>
                <c:pt idx="629">
                  <c:v>8.7153583000000001</c:v>
                </c:pt>
                <c:pt idx="630">
                  <c:v>8.9067557285714276</c:v>
                </c:pt>
                <c:pt idx="631">
                  <c:v>9.23939327142857</c:v>
                </c:pt>
                <c:pt idx="632">
                  <c:v>9.6843082285714264</c:v>
                </c:pt>
                <c:pt idx="633">
                  <c:v>10.211207642857143</c:v>
                </c:pt>
                <c:pt idx="634">
                  <c:v>10.817897871428572</c:v>
                </c:pt>
                <c:pt idx="635">
                  <c:v>11.488179528571431</c:v>
                </c:pt>
                <c:pt idx="636">
                  <c:v>12.090375357142859</c:v>
                </c:pt>
                <c:pt idx="637">
                  <c:v>12.563105642857142</c:v>
                </c:pt>
                <c:pt idx="638">
                  <c:v>12.904424571428573</c:v>
                </c:pt>
                <c:pt idx="639">
                  <c:v>13.13851692857143</c:v>
                </c:pt>
                <c:pt idx="640">
                  <c:v>13.293679842857143</c:v>
                </c:pt>
                <c:pt idx="641">
                  <c:v>13.415263000000001</c:v>
                </c:pt>
                <c:pt idx="642">
                  <c:v>13.528155928571428</c:v>
                </c:pt>
                <c:pt idx="643">
                  <c:v>13.850994442857143</c:v>
                </c:pt>
                <c:pt idx="644">
                  <c:v>14.361923842857141</c:v>
                </c:pt>
                <c:pt idx="645">
                  <c:v>15.077834314285711</c:v>
                </c:pt>
                <c:pt idx="646">
                  <c:v>16.044255742857143</c:v>
                </c:pt>
                <c:pt idx="647">
                  <c:v>17.277318971428571</c:v>
                </c:pt>
                <c:pt idx="648">
                  <c:v>18.831058971428572</c:v>
                </c:pt>
                <c:pt idx="649">
                  <c:v>20.774316599999995</c:v>
                </c:pt>
                <c:pt idx="650">
                  <c:v>22.774540257142856</c:v>
                </c:pt>
                <c:pt idx="651">
                  <c:v>24.741804871428574</c:v>
                </c:pt>
                <c:pt idx="652">
                  <c:v>26.619204314285717</c:v>
                </c:pt>
                <c:pt idx="653">
                  <c:v>28.351315771428574</c:v>
                </c:pt>
                <c:pt idx="654">
                  <c:v>29.748105114285714</c:v>
                </c:pt>
                <c:pt idx="655">
                  <c:v>30.808465557142853</c:v>
                </c:pt>
                <c:pt idx="656">
                  <c:v>31.384668699999995</c:v>
                </c:pt>
                <c:pt idx="657">
                  <c:v>31.639984785714283</c:v>
                </c:pt>
                <c:pt idx="658">
                  <c:v>31.857850614285713</c:v>
                </c:pt>
                <c:pt idx="659">
                  <c:v>32.070970471428566</c:v>
                </c:pt>
                <c:pt idx="660">
                  <c:v>32.385470557142852</c:v>
                </c:pt>
                <c:pt idx="661">
                  <c:v>33.0486814</c:v>
                </c:pt>
                <c:pt idx="662">
                  <c:v>33.972778271428574</c:v>
                </c:pt>
                <c:pt idx="663">
                  <c:v>35.141908042857146</c:v>
                </c:pt>
                <c:pt idx="664">
                  <c:v>36.45715092857143</c:v>
                </c:pt>
                <c:pt idx="665">
                  <c:v>37.634109885714288</c:v>
                </c:pt>
                <c:pt idx="666">
                  <c:v>38.639229914285714</c:v>
                </c:pt>
                <c:pt idx="667">
                  <c:v>39.375723814285713</c:v>
                </c:pt>
                <c:pt idx="668">
                  <c:v>40.083642442857141</c:v>
                </c:pt>
                <c:pt idx="669">
                  <c:v>40.905707514285716</c:v>
                </c:pt>
                <c:pt idx="670">
                  <c:v>41.807110428571427</c:v>
                </c:pt>
                <c:pt idx="671">
                  <c:v>42.712223585714284</c:v>
                </c:pt>
                <c:pt idx="672">
                  <c:v>43.616872942857142</c:v>
                </c:pt>
                <c:pt idx="673">
                  <c:v>44.436047514285711</c:v>
                </c:pt>
                <c:pt idx="674">
                  <c:v>45.211442185714283</c:v>
                </c:pt>
                <c:pt idx="675">
                  <c:v>46.22528177142857</c:v>
                </c:pt>
                <c:pt idx="676">
                  <c:v>47.47149888571429</c:v>
                </c:pt>
                <c:pt idx="677">
                  <c:v>48.941325785714284</c:v>
                </c:pt>
                <c:pt idx="678">
                  <c:v>50.531490299999994</c:v>
                </c:pt>
                <c:pt idx="679">
                  <c:v>52.305176500000002</c:v>
                </c:pt>
                <c:pt idx="680">
                  <c:v>54.157765142857144</c:v>
                </c:pt>
                <c:pt idx="681">
                  <c:v>55.466029014285716</c:v>
                </c:pt>
                <c:pt idx="682">
                  <c:v>56.062041571428566</c:v>
                </c:pt>
                <c:pt idx="683">
                  <c:v>56.195274700000006</c:v>
                </c:pt>
                <c:pt idx="684">
                  <c:v>55.984189071428567</c:v>
                </c:pt>
                <c:pt idx="685">
                  <c:v>55.572182185714283</c:v>
                </c:pt>
                <c:pt idx="686">
                  <c:v>54.958919671428568</c:v>
                </c:pt>
                <c:pt idx="687">
                  <c:v>54.316245842857143</c:v>
                </c:pt>
                <c:pt idx="688">
                  <c:v>54.038395700000009</c:v>
                </c:pt>
                <c:pt idx="689">
                  <c:v>53.806238</c:v>
                </c:pt>
                <c:pt idx="690">
                  <c:v>53.52795737142857</c:v>
                </c:pt>
                <c:pt idx="691">
                  <c:v>53.157961028571428</c:v>
                </c:pt>
                <c:pt idx="692">
                  <c:v>54.393098500000008</c:v>
                </c:pt>
                <c:pt idx="693">
                  <c:v>57.381911457142856</c:v>
                </c:pt>
                <c:pt idx="694">
                  <c:v>61.929896299999996</c:v>
                </c:pt>
                <c:pt idx="695">
                  <c:v>67.903590985714288</c:v>
                </c:pt>
                <c:pt idx="696">
                  <c:v>74.954392714285717</c:v>
                </c:pt>
                <c:pt idx="697">
                  <c:v>82.711390871428577</c:v>
                </c:pt>
                <c:pt idx="698">
                  <c:v>90.697245542857146</c:v>
                </c:pt>
                <c:pt idx="699">
                  <c:v>97.058680442857138</c:v>
                </c:pt>
                <c:pt idx="700">
                  <c:v>101.53246501428571</c:v>
                </c:pt>
                <c:pt idx="701">
                  <c:v>104.65406278571427</c:v>
                </c:pt>
                <c:pt idx="702">
                  <c:v>106.97865955714288</c:v>
                </c:pt>
                <c:pt idx="703">
                  <c:v>108.77492015714286</c:v>
                </c:pt>
                <c:pt idx="704">
                  <c:v>110.08318021428575</c:v>
                </c:pt>
                <c:pt idx="705">
                  <c:v>110.78571117142857</c:v>
                </c:pt>
                <c:pt idx="706">
                  <c:v>111.20483350000002</c:v>
                </c:pt>
                <c:pt idx="707">
                  <c:v>111.74212641428571</c:v>
                </c:pt>
                <c:pt idx="708">
                  <c:v>112.23007632857143</c:v>
                </c:pt>
                <c:pt idx="709">
                  <c:v>112.45392982857145</c:v>
                </c:pt>
                <c:pt idx="710">
                  <c:v>112.80655255714285</c:v>
                </c:pt>
                <c:pt idx="711">
                  <c:v>113.37568934285714</c:v>
                </c:pt>
                <c:pt idx="712">
                  <c:v>114.74964527142856</c:v>
                </c:pt>
                <c:pt idx="713">
                  <c:v>116.63232571428571</c:v>
                </c:pt>
                <c:pt idx="714">
                  <c:v>118.65486027142857</c:v>
                </c:pt>
                <c:pt idx="715">
                  <c:v>120.62743950000001</c:v>
                </c:pt>
                <c:pt idx="716">
                  <c:v>122.56738132857143</c:v>
                </c:pt>
                <c:pt idx="717">
                  <c:v>124.09080200000001</c:v>
                </c:pt>
                <c:pt idx="718">
                  <c:v>125.23659644285713</c:v>
                </c:pt>
                <c:pt idx="719">
                  <c:v>126.22427682857143</c:v>
                </c:pt>
                <c:pt idx="720">
                  <c:v>127.34120412857143</c:v>
                </c:pt>
                <c:pt idx="721">
                  <c:v>127.07678507142857</c:v>
                </c:pt>
                <c:pt idx="722">
                  <c:v>125.86361622857143</c:v>
                </c:pt>
                <c:pt idx="723">
                  <c:v>123.57618461428571</c:v>
                </c:pt>
                <c:pt idx="724">
                  <c:v>119.98070081428573</c:v>
                </c:pt>
                <c:pt idx="725">
                  <c:v>115.21176490000002</c:v>
                </c:pt>
                <c:pt idx="726">
                  <c:v>109.327504</c:v>
                </c:pt>
                <c:pt idx="727">
                  <c:v>102.22307497142856</c:v>
                </c:pt>
                <c:pt idx="728">
                  <c:v>95.585645485714281</c:v>
                </c:pt>
                <c:pt idx="729">
                  <c:v>89.462895500000016</c:v>
                </c:pt>
                <c:pt idx="730">
                  <c:v>84.01591085714287</c:v>
                </c:pt>
                <c:pt idx="731">
                  <c:v>79.347538357142867</c:v>
                </c:pt>
                <c:pt idx="732">
                  <c:v>75.385068128571433</c:v>
                </c:pt>
                <c:pt idx="733">
                  <c:v>72.165393971428585</c:v>
                </c:pt>
                <c:pt idx="734">
                  <c:v>69.605916928571432</c:v>
                </c:pt>
                <c:pt idx="735">
                  <c:v>67.575140000000005</c:v>
                </c:pt>
                <c:pt idx="736">
                  <c:v>65.809590057142856</c:v>
                </c:pt>
                <c:pt idx="737">
                  <c:v>64.262211100000002</c:v>
                </c:pt>
                <c:pt idx="738">
                  <c:v>62.952029528571423</c:v>
                </c:pt>
                <c:pt idx="739">
                  <c:v>61.795493828571423</c:v>
                </c:pt>
                <c:pt idx="740">
                  <c:v>60.66583897142857</c:v>
                </c:pt>
                <c:pt idx="741">
                  <c:v>59.531384757142845</c:v>
                </c:pt>
                <c:pt idx="742">
                  <c:v>58.412730342857138</c:v>
                </c:pt>
                <c:pt idx="743">
                  <c:v>57.382579414285715</c:v>
                </c:pt>
                <c:pt idx="744">
                  <c:v>56.488391514285709</c:v>
                </c:pt>
                <c:pt idx="745">
                  <c:v>55.804252742857145</c:v>
                </c:pt>
                <c:pt idx="746">
                  <c:v>55.377714371428574</c:v>
                </c:pt>
                <c:pt idx="747">
                  <c:v>55.098446685714293</c:v>
                </c:pt>
                <c:pt idx="748">
                  <c:v>54.976101542857144</c:v>
                </c:pt>
                <c:pt idx="749">
                  <c:v>55.054457300000003</c:v>
                </c:pt>
                <c:pt idx="750">
                  <c:v>55.13852791428571</c:v>
                </c:pt>
                <c:pt idx="751">
                  <c:v>55.364459957142863</c:v>
                </c:pt>
                <c:pt idx="752">
                  <c:v>55.971208628571432</c:v>
                </c:pt>
                <c:pt idx="753">
                  <c:v>56.947357542857155</c:v>
                </c:pt>
                <c:pt idx="754">
                  <c:v>58.276557500000017</c:v>
                </c:pt>
                <c:pt idx="755">
                  <c:v>59.822127999999999</c:v>
                </c:pt>
                <c:pt idx="756">
                  <c:v>61.364224971428577</c:v>
                </c:pt>
                <c:pt idx="757">
                  <c:v>62.71527698571429</c:v>
                </c:pt>
                <c:pt idx="758">
                  <c:v>63.511010171428573</c:v>
                </c:pt>
                <c:pt idx="759">
                  <c:v>63.618272528571438</c:v>
                </c:pt>
                <c:pt idx="760">
                  <c:v>63.181616814285725</c:v>
                </c:pt>
                <c:pt idx="761">
                  <c:v>62.474891585714282</c:v>
                </c:pt>
                <c:pt idx="762">
                  <c:v>61.95726238571428</c:v>
                </c:pt>
                <c:pt idx="763">
                  <c:v>61.636916057142862</c:v>
                </c:pt>
                <c:pt idx="764">
                  <c:v>61.374361128571429</c:v>
                </c:pt>
                <c:pt idx="765">
                  <c:v>61.26522332857143</c:v>
                </c:pt>
                <c:pt idx="766">
                  <c:v>61.224229971428564</c:v>
                </c:pt>
                <c:pt idx="767">
                  <c:v>60.823735728571428</c:v>
                </c:pt>
                <c:pt idx="768">
                  <c:v>59.843283300000003</c:v>
                </c:pt>
                <c:pt idx="769">
                  <c:v>58.172498671428571</c:v>
                </c:pt>
                <c:pt idx="770">
                  <c:v>56.195748442857145</c:v>
                </c:pt>
                <c:pt idx="771">
                  <c:v>53.918794857142856</c:v>
                </c:pt>
                <c:pt idx="772">
                  <c:v>51.515334314285717</c:v>
                </c:pt>
                <c:pt idx="773">
                  <c:v>49.073445771428574</c:v>
                </c:pt>
                <c:pt idx="774">
                  <c:v>46.888879457142856</c:v>
                </c:pt>
                <c:pt idx="775">
                  <c:v>44.978013128571426</c:v>
                </c:pt>
                <c:pt idx="776">
                  <c:v>43.261630685714294</c:v>
                </c:pt>
                <c:pt idx="777">
                  <c:v>41.579801428571436</c:v>
                </c:pt>
                <c:pt idx="778">
                  <c:v>40.248637385714289</c:v>
                </c:pt>
                <c:pt idx="779">
                  <c:v>39.142050142857144</c:v>
                </c:pt>
                <c:pt idx="780">
                  <c:v>38.110000500000005</c:v>
                </c:pt>
                <c:pt idx="781">
                  <c:v>37.078007342857141</c:v>
                </c:pt>
                <c:pt idx="782">
                  <c:v>36.203774857142854</c:v>
                </c:pt>
                <c:pt idx="783">
                  <c:v>35.540044171428569</c:v>
                </c:pt>
                <c:pt idx="784">
                  <c:v>35.082660028571432</c:v>
                </c:pt>
                <c:pt idx="785">
                  <c:v>34.788312742857144</c:v>
                </c:pt>
                <c:pt idx="786">
                  <c:v>34.788792314285715</c:v>
                </c:pt>
                <c:pt idx="787">
                  <c:v>34.953595071428573</c:v>
                </c:pt>
                <c:pt idx="788">
                  <c:v>35.327405071428572</c:v>
                </c:pt>
                <c:pt idx="789">
                  <c:v>35.70835627142857</c:v>
                </c:pt>
                <c:pt idx="790">
                  <c:v>36.02749848571429</c:v>
                </c:pt>
                <c:pt idx="791">
                  <c:v>35.39077315714286</c:v>
                </c:pt>
                <c:pt idx="792">
                  <c:v>33.579073328571432</c:v>
                </c:pt>
                <c:pt idx="793">
                  <c:v>30.638033900000003</c:v>
                </c:pt>
                <c:pt idx="794">
                  <c:v>26.983081728571431</c:v>
                </c:pt>
                <c:pt idx="795">
                  <c:v>22.746445514285714</c:v>
                </c:pt>
                <c:pt idx="796">
                  <c:v>18.075994300000001</c:v>
                </c:pt>
                <c:pt idx="797">
                  <c:v>13.146803657142856</c:v>
                </c:pt>
                <c:pt idx="798">
                  <c:v>8.9782231428571428</c:v>
                </c:pt>
                <c:pt idx="799">
                  <c:v>5.8874734285714281</c:v>
                </c:pt>
                <c:pt idx="800">
                  <c:v>3.7508604571428568</c:v>
                </c:pt>
                <c:pt idx="801">
                  <c:v>2.3366524142857137</c:v>
                </c:pt>
                <c:pt idx="802">
                  <c:v>1.4284652571428573</c:v>
                </c:pt>
                <c:pt idx="803">
                  <c:v>0.8568070571428571</c:v>
                </c:pt>
                <c:pt idx="804">
                  <c:v>0.503042042857142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F80-4D44-B5FB-C7344E7BB008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Other Base</c:v>
                </c:pt>
              </c:strCache>
            </c:strRef>
          </c:tx>
          <c:spPr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c:spPr>
          <c:invertIfNegative val="0"/>
          <c:cat>
            <c:numRef>
              <c:f>Sheet1!$A$2:$A$864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D$2:$D$864</c:f>
              <c:numCache>
                <c:formatCode>#,##0</c:formatCode>
                <c:ptCount val="8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000.9036957000001</c:v>
                </c:pt>
                <c:pt idx="7">
                  <c:v>957.34275162857136</c:v>
                </c:pt>
                <c:pt idx="8">
                  <c:v>967.47957508571437</c:v>
                </c:pt>
                <c:pt idx="9">
                  <c:v>971.04116170000009</c:v>
                </c:pt>
                <c:pt idx="10">
                  <c:v>971.04116170000009</c:v>
                </c:pt>
                <c:pt idx="11">
                  <c:v>969.94528889999981</c:v>
                </c:pt>
                <c:pt idx="12">
                  <c:v>968.3014796857143</c:v>
                </c:pt>
                <c:pt idx="13">
                  <c:v>972.13703451428569</c:v>
                </c:pt>
                <c:pt idx="14">
                  <c:v>972.95893912857139</c:v>
                </c:pt>
                <c:pt idx="15">
                  <c:v>962.82211567142872</c:v>
                </c:pt>
                <c:pt idx="16">
                  <c:v>952.68529221428582</c:v>
                </c:pt>
                <c:pt idx="17">
                  <c:v>952.6852922142856</c:v>
                </c:pt>
                <c:pt idx="18">
                  <c:v>952.6852922142856</c:v>
                </c:pt>
                <c:pt idx="19">
                  <c:v>952.6852922142856</c:v>
                </c:pt>
                <c:pt idx="20">
                  <c:v>948.84973738571432</c:v>
                </c:pt>
                <c:pt idx="21">
                  <c:v>945.01418255714293</c:v>
                </c:pt>
                <c:pt idx="22">
                  <c:v>945.01418255714293</c:v>
                </c:pt>
                <c:pt idx="23">
                  <c:v>945.01418255714293</c:v>
                </c:pt>
                <c:pt idx="24">
                  <c:v>945.01418255714293</c:v>
                </c:pt>
                <c:pt idx="25">
                  <c:v>951.31545119999998</c:v>
                </c:pt>
                <c:pt idx="26">
                  <c:v>954.05513321428577</c:v>
                </c:pt>
                <c:pt idx="27">
                  <c:v>954.05513321428577</c:v>
                </c:pt>
                <c:pt idx="28">
                  <c:v>954.05513321428577</c:v>
                </c:pt>
                <c:pt idx="29">
                  <c:v>954.05513321428577</c:v>
                </c:pt>
                <c:pt idx="30">
                  <c:v>954.05513321428577</c:v>
                </c:pt>
                <c:pt idx="31">
                  <c:v>954.05513321428589</c:v>
                </c:pt>
                <c:pt idx="32">
                  <c:v>948.57576917142853</c:v>
                </c:pt>
                <c:pt idx="33">
                  <c:v>945.83608715714297</c:v>
                </c:pt>
                <c:pt idx="34">
                  <c:v>945.83608715714297</c:v>
                </c:pt>
                <c:pt idx="35">
                  <c:v>945.83608715714297</c:v>
                </c:pt>
                <c:pt idx="36">
                  <c:v>949.94561018571437</c:v>
                </c:pt>
                <c:pt idx="37">
                  <c:v>949.94561018571437</c:v>
                </c:pt>
                <c:pt idx="38">
                  <c:v>973.78084372857143</c:v>
                </c:pt>
                <c:pt idx="39">
                  <c:v>972.9589391285715</c:v>
                </c:pt>
                <c:pt idx="40">
                  <c:v>972.9589391285715</c:v>
                </c:pt>
                <c:pt idx="41">
                  <c:v>972.9589391285715</c:v>
                </c:pt>
                <c:pt idx="42">
                  <c:v>974.05481192857144</c:v>
                </c:pt>
                <c:pt idx="43">
                  <c:v>969.94528890000015</c:v>
                </c:pt>
                <c:pt idx="44">
                  <c:v>975.1506847285716</c:v>
                </c:pt>
                <c:pt idx="45">
                  <c:v>971.04116171428575</c:v>
                </c:pt>
                <c:pt idx="46">
                  <c:v>971.58909811428566</c:v>
                </c:pt>
                <c:pt idx="47">
                  <c:v>971.58909811428566</c:v>
                </c:pt>
                <c:pt idx="48">
                  <c:v>971.58909811428566</c:v>
                </c:pt>
                <c:pt idx="49">
                  <c:v>975.69862114285718</c:v>
                </c:pt>
                <c:pt idx="50">
                  <c:v>975.69862114285718</c:v>
                </c:pt>
                <c:pt idx="51">
                  <c:v>970.49322531428584</c:v>
                </c:pt>
                <c:pt idx="52">
                  <c:v>950.7675147857143</c:v>
                </c:pt>
                <c:pt idx="53">
                  <c:v>950.21957838571427</c:v>
                </c:pt>
                <c:pt idx="54">
                  <c:v>950.49354658571428</c:v>
                </c:pt>
                <c:pt idx="55">
                  <c:v>950.7675147857143</c:v>
                </c:pt>
                <c:pt idx="56">
                  <c:v>945.56211895714296</c:v>
                </c:pt>
                <c:pt idx="57">
                  <c:v>947.20592817142858</c:v>
                </c:pt>
                <c:pt idx="58">
                  <c:v>951.58941940000011</c:v>
                </c:pt>
                <c:pt idx="59">
                  <c:v>954.05513321428577</c:v>
                </c:pt>
                <c:pt idx="60">
                  <c:v>955.97291062857141</c:v>
                </c:pt>
                <c:pt idx="61">
                  <c:v>955.6989424285714</c:v>
                </c:pt>
                <c:pt idx="62">
                  <c:v>957.34275164285714</c:v>
                </c:pt>
                <c:pt idx="63">
                  <c:v>961.72624287142855</c:v>
                </c:pt>
                <c:pt idx="64">
                  <c:v>971.86306632857156</c:v>
                </c:pt>
                <c:pt idx="65">
                  <c:v>967.47957510000003</c:v>
                </c:pt>
                <c:pt idx="66">
                  <c:v>972.6849709285716</c:v>
                </c:pt>
                <c:pt idx="67">
                  <c:v>972.13703452857146</c:v>
                </c:pt>
                <c:pt idx="68">
                  <c:v>978.71227137142864</c:v>
                </c:pt>
                <c:pt idx="69">
                  <c:v>977.61639855714304</c:v>
                </c:pt>
                <c:pt idx="70">
                  <c:v>973.23290732857151</c:v>
                </c:pt>
                <c:pt idx="71">
                  <c:v>961.45227465714299</c:v>
                </c:pt>
                <c:pt idx="72">
                  <c:v>961.45227465714299</c:v>
                </c:pt>
                <c:pt idx="73">
                  <c:v>953.78116501428588</c:v>
                </c:pt>
                <c:pt idx="74">
                  <c:v>952.41132399999992</c:v>
                </c:pt>
                <c:pt idx="75">
                  <c:v>1060.1984696285715</c:v>
                </c:pt>
                <c:pt idx="76">
                  <c:v>1173.7389475</c:v>
                </c:pt>
                <c:pt idx="77">
                  <c:v>1174.2868839</c:v>
                </c:pt>
                <c:pt idx="78">
                  <c:v>1174.2868839</c:v>
                </c:pt>
                <c:pt idx="79">
                  <c:v>1174.2868839</c:v>
                </c:pt>
                <c:pt idx="80">
                  <c:v>1174.2868839</c:v>
                </c:pt>
                <c:pt idx="81">
                  <c:v>1174.2868839</c:v>
                </c:pt>
                <c:pt idx="82">
                  <c:v>1059.9245014285714</c:v>
                </c:pt>
                <c:pt idx="83">
                  <c:v>945.56211895714296</c:v>
                </c:pt>
                <c:pt idx="84">
                  <c:v>954.87703781428593</c:v>
                </c:pt>
                <c:pt idx="85">
                  <c:v>954.87703781428593</c:v>
                </c:pt>
                <c:pt idx="86">
                  <c:v>954.87703781428593</c:v>
                </c:pt>
                <c:pt idx="87">
                  <c:v>954.87703781428593</c:v>
                </c:pt>
                <c:pt idx="88">
                  <c:v>954.87703781428559</c:v>
                </c:pt>
                <c:pt idx="89">
                  <c:v>954.87703781428559</c:v>
                </c:pt>
                <c:pt idx="90">
                  <c:v>954.87703781428593</c:v>
                </c:pt>
                <c:pt idx="91">
                  <c:v>945.01418255714293</c:v>
                </c:pt>
                <c:pt idx="92">
                  <c:v>945.01418255714293</c:v>
                </c:pt>
                <c:pt idx="93">
                  <c:v>945.01418255714293</c:v>
                </c:pt>
                <c:pt idx="94">
                  <c:v>945.01418255714293</c:v>
                </c:pt>
                <c:pt idx="95">
                  <c:v>945.01418255714282</c:v>
                </c:pt>
                <c:pt idx="96">
                  <c:v>945.28815075714294</c:v>
                </c:pt>
                <c:pt idx="97">
                  <c:v>946.11005535714298</c:v>
                </c:pt>
                <c:pt idx="98">
                  <c:v>946.11005535714298</c:v>
                </c:pt>
                <c:pt idx="99">
                  <c:v>946.11005535714298</c:v>
                </c:pt>
                <c:pt idx="100">
                  <c:v>946.11005535714298</c:v>
                </c:pt>
                <c:pt idx="101">
                  <c:v>946.11005535714298</c:v>
                </c:pt>
                <c:pt idx="102">
                  <c:v>946.38402355714277</c:v>
                </c:pt>
                <c:pt idx="103">
                  <c:v>948.30180097142863</c:v>
                </c:pt>
                <c:pt idx="104">
                  <c:v>973.23290732857151</c:v>
                </c:pt>
                <c:pt idx="105">
                  <c:v>990.49290404285716</c:v>
                </c:pt>
                <c:pt idx="106">
                  <c:v>995.4243316714286</c:v>
                </c:pt>
                <c:pt idx="107">
                  <c:v>996.52020447142866</c:v>
                </c:pt>
                <c:pt idx="108">
                  <c:v>998.16401368571428</c:v>
                </c:pt>
                <c:pt idx="109">
                  <c:v>1004.1913141285713</c:v>
                </c:pt>
                <c:pt idx="110">
                  <c:v>1008.0268689571429</c:v>
                </c:pt>
                <c:pt idx="111">
                  <c:v>992.13671325714279</c:v>
                </c:pt>
                <c:pt idx="112">
                  <c:v>987.75322202857137</c:v>
                </c:pt>
                <c:pt idx="113">
                  <c:v>982.82179439999982</c:v>
                </c:pt>
                <c:pt idx="114">
                  <c:v>984.19163541428554</c:v>
                </c:pt>
                <c:pt idx="115">
                  <c:v>983.09576259999994</c:v>
                </c:pt>
                <c:pt idx="116">
                  <c:v>998.71195009999997</c:v>
                </c:pt>
                <c:pt idx="117">
                  <c:v>994.05449067142854</c:v>
                </c:pt>
                <c:pt idx="118">
                  <c:v>986.65734922857143</c:v>
                </c:pt>
                <c:pt idx="119">
                  <c:v>978.43830317142863</c:v>
                </c:pt>
                <c:pt idx="120">
                  <c:v>978.71227137142864</c:v>
                </c:pt>
                <c:pt idx="121">
                  <c:v>981.17798518571442</c:v>
                </c:pt>
                <c:pt idx="122">
                  <c:v>990.21893584285715</c:v>
                </c:pt>
                <c:pt idx="123">
                  <c:v>985.28750819999993</c:v>
                </c:pt>
                <c:pt idx="124">
                  <c:v>989.39703121428568</c:v>
                </c:pt>
                <c:pt idx="125">
                  <c:v>991.86274502857123</c:v>
                </c:pt>
                <c:pt idx="126">
                  <c:v>988.30115839999985</c:v>
                </c:pt>
                <c:pt idx="127">
                  <c:v>988.02719019999984</c:v>
                </c:pt>
                <c:pt idx="128">
                  <c:v>997.06814085714268</c:v>
                </c:pt>
                <c:pt idx="129">
                  <c:v>990.76687221428551</c:v>
                </c:pt>
                <c:pt idx="130">
                  <c:v>974.60274831428558</c:v>
                </c:pt>
                <c:pt idx="131">
                  <c:v>969.39735248571435</c:v>
                </c:pt>
                <c:pt idx="132">
                  <c:v>965.01386125714293</c:v>
                </c:pt>
                <c:pt idx="133">
                  <c:v>963.917988457143</c:v>
                </c:pt>
                <c:pt idx="134">
                  <c:v>964.19195665714301</c:v>
                </c:pt>
                <c:pt idx="135">
                  <c:v>957.89068801428584</c:v>
                </c:pt>
                <c:pt idx="136">
                  <c:v>955.15100600000005</c:v>
                </c:pt>
                <c:pt idx="137">
                  <c:v>960.08243364285715</c:v>
                </c:pt>
                <c:pt idx="138">
                  <c:v>959.80846544285725</c:v>
                </c:pt>
                <c:pt idx="139">
                  <c:v>959.26052904285723</c:v>
                </c:pt>
                <c:pt idx="140">
                  <c:v>959.26052904285723</c:v>
                </c:pt>
                <c:pt idx="141">
                  <c:v>958.98656084285722</c:v>
                </c:pt>
                <c:pt idx="142">
                  <c:v>1143.1911265714286</c:v>
                </c:pt>
                <c:pt idx="143">
                  <c:v>1492.0787035285716</c:v>
                </c:pt>
                <c:pt idx="144">
                  <c:v>1839.5964394714285</c:v>
                </c:pt>
                <c:pt idx="145">
                  <c:v>2189.8538574285717</c:v>
                </c:pt>
                <c:pt idx="146">
                  <c:v>2189.8538574285717</c:v>
                </c:pt>
                <c:pt idx="147">
                  <c:v>2339.3649446857148</c:v>
                </c:pt>
                <c:pt idx="148">
                  <c:v>2351.9674819571433</c:v>
                </c:pt>
                <c:pt idx="149">
                  <c:v>2160.0918065857145</c:v>
                </c:pt>
                <c:pt idx="150">
                  <c:v>1810.9302614285716</c:v>
                </c:pt>
                <c:pt idx="151">
                  <c:v>1474.6452217428571</c:v>
                </c:pt>
                <c:pt idx="152">
                  <c:v>1127.6754222</c:v>
                </c:pt>
                <c:pt idx="153">
                  <c:v>1127.6754222</c:v>
                </c:pt>
                <c:pt idx="154">
                  <c:v>980.63004875714273</c:v>
                </c:pt>
                <c:pt idx="155">
                  <c:v>991.58877682857144</c:v>
                </c:pt>
                <c:pt idx="156">
                  <c:v>991.86274502857145</c:v>
                </c:pt>
                <c:pt idx="157">
                  <c:v>993.7805224428572</c:v>
                </c:pt>
                <c:pt idx="158">
                  <c:v>976.79449394285712</c:v>
                </c:pt>
                <c:pt idx="159">
                  <c:v>973.50687552857141</c:v>
                </c:pt>
                <c:pt idx="160">
                  <c:v>973.50687552857141</c:v>
                </c:pt>
                <c:pt idx="161">
                  <c:v>971.04116171428564</c:v>
                </c:pt>
                <c:pt idx="162">
                  <c:v>947.47989637142848</c:v>
                </c:pt>
                <c:pt idx="163">
                  <c:v>952.95926041428561</c:v>
                </c:pt>
                <c:pt idx="164">
                  <c:v>952.1373558142858</c:v>
                </c:pt>
                <c:pt idx="165">
                  <c:v>956.79481524285711</c:v>
                </c:pt>
                <c:pt idx="166">
                  <c:v>956.794815242857</c:v>
                </c:pt>
                <c:pt idx="167">
                  <c:v>959.5344972571429</c:v>
                </c:pt>
                <c:pt idx="168">
                  <c:v>966.65767049999999</c:v>
                </c:pt>
                <c:pt idx="169">
                  <c:v>970.76719352857151</c:v>
                </c:pt>
                <c:pt idx="170">
                  <c:v>967.75354330000005</c:v>
                </c:pt>
                <c:pt idx="171">
                  <c:v>966.65767048571411</c:v>
                </c:pt>
                <c:pt idx="172">
                  <c:v>962.00021105714291</c:v>
                </c:pt>
                <c:pt idx="173">
                  <c:v>962.00021105714279</c:v>
                </c:pt>
                <c:pt idx="174">
                  <c:v>959.53449724285724</c:v>
                </c:pt>
                <c:pt idx="175">
                  <c:v>952.41132400000004</c:v>
                </c:pt>
                <c:pt idx="176">
                  <c:v>948.57576917142876</c:v>
                </c:pt>
                <c:pt idx="177">
                  <c:v>951.04148298571442</c:v>
                </c:pt>
                <c:pt idx="178">
                  <c:v>951.04148298571431</c:v>
                </c:pt>
                <c:pt idx="179">
                  <c:v>953.78116499999999</c:v>
                </c:pt>
                <c:pt idx="180">
                  <c:v>953.7811650000001</c:v>
                </c:pt>
                <c:pt idx="181">
                  <c:v>953.50719680000009</c:v>
                </c:pt>
                <c:pt idx="182">
                  <c:v>958.43862442857153</c:v>
                </c:pt>
                <c:pt idx="183">
                  <c:v>958.43862442857153</c:v>
                </c:pt>
                <c:pt idx="184">
                  <c:v>968.3014797000003</c:v>
                </c:pt>
                <c:pt idx="185">
                  <c:v>1314.6995383000001</c:v>
                </c:pt>
                <c:pt idx="186">
                  <c:v>1670.6864839571431</c:v>
                </c:pt>
                <c:pt idx="187">
                  <c:v>2026.1254932142858</c:v>
                </c:pt>
                <c:pt idx="188">
                  <c:v>2032.1527936571433</c:v>
                </c:pt>
                <c:pt idx="189">
                  <c:v>2029.1391434428574</c:v>
                </c:pt>
                <c:pt idx="190">
                  <c:v>2041.1937443142856</c:v>
                </c:pt>
                <c:pt idx="191">
                  <c:v>2043.9334263285714</c:v>
                </c:pt>
                <c:pt idx="192">
                  <c:v>2052.1524723857142</c:v>
                </c:pt>
                <c:pt idx="193">
                  <c:v>2047.2210447571431</c:v>
                </c:pt>
                <c:pt idx="194">
                  <c:v>2035.7143802857142</c:v>
                </c:pt>
                <c:pt idx="195">
                  <c:v>2031.3308890571427</c:v>
                </c:pt>
                <c:pt idx="196">
                  <c:v>2029.687079842857</c:v>
                </c:pt>
                <c:pt idx="197">
                  <c:v>2872.4327000857143</c:v>
                </c:pt>
                <c:pt idx="198">
                  <c:v>3006.0536316428575</c:v>
                </c:pt>
                <c:pt idx="199">
                  <c:v>2651.1625587857147</c:v>
                </c:pt>
                <c:pt idx="200">
                  <c:v>2297.367358742857</c:v>
                </c:pt>
                <c:pt idx="201">
                  <c:v>1953.4350139571429</c:v>
                </c:pt>
                <c:pt idx="202">
                  <c:v>1951.7912047428574</c:v>
                </c:pt>
                <c:pt idx="203">
                  <c:v>2911.5971855000003</c:v>
                </c:pt>
                <c:pt idx="204">
                  <c:v>3016.6029451428572</c:v>
                </c:pt>
                <c:pt idx="205">
                  <c:v>2865.1740804714286</c:v>
                </c:pt>
                <c:pt idx="206">
                  <c:v>2867.2288419857141</c:v>
                </c:pt>
                <c:pt idx="207">
                  <c:v>2867.913762485714</c:v>
                </c:pt>
                <c:pt idx="208">
                  <c:v>2867.9137624857144</c:v>
                </c:pt>
                <c:pt idx="209">
                  <c:v>2867.913762485714</c:v>
                </c:pt>
                <c:pt idx="210">
                  <c:v>1908.9296863285715</c:v>
                </c:pt>
                <c:pt idx="211">
                  <c:v>949.26068967142851</c:v>
                </c:pt>
                <c:pt idx="212">
                  <c:v>950.63053068571412</c:v>
                </c:pt>
                <c:pt idx="213">
                  <c:v>954.46608551428574</c:v>
                </c:pt>
                <c:pt idx="214">
                  <c:v>953.78116501428565</c:v>
                </c:pt>
                <c:pt idx="215">
                  <c:v>954.46608551428574</c:v>
                </c:pt>
                <c:pt idx="216">
                  <c:v>954.8770378142857</c:v>
                </c:pt>
                <c:pt idx="217">
                  <c:v>962.13719517142852</c:v>
                </c:pt>
                <c:pt idx="218">
                  <c:v>975.28766885714265</c:v>
                </c:pt>
                <c:pt idx="219">
                  <c:v>978.02735087142867</c:v>
                </c:pt>
                <c:pt idx="220">
                  <c:v>978.43830317142863</c:v>
                </c:pt>
                <c:pt idx="221">
                  <c:v>979.80814418571424</c:v>
                </c:pt>
                <c:pt idx="222">
                  <c:v>979.12322368571427</c:v>
                </c:pt>
                <c:pt idx="223">
                  <c:v>979.12322368571438</c:v>
                </c:pt>
                <c:pt idx="224">
                  <c:v>970.76719352857162</c:v>
                </c:pt>
                <c:pt idx="225">
                  <c:v>957.20576754285719</c:v>
                </c:pt>
                <c:pt idx="226">
                  <c:v>953.50719681428586</c:v>
                </c:pt>
                <c:pt idx="227">
                  <c:v>947.20592817142881</c:v>
                </c:pt>
                <c:pt idx="228">
                  <c:v>945.83608715714286</c:v>
                </c:pt>
                <c:pt idx="229">
                  <c:v>946.24703945714282</c:v>
                </c:pt>
                <c:pt idx="230">
                  <c:v>949.67164198571425</c:v>
                </c:pt>
                <c:pt idx="231">
                  <c:v>961.86322695714284</c:v>
                </c:pt>
                <c:pt idx="232">
                  <c:v>961.86322695714284</c:v>
                </c:pt>
                <c:pt idx="233">
                  <c:v>961.45227465714277</c:v>
                </c:pt>
                <c:pt idx="234">
                  <c:v>961.86322695714284</c:v>
                </c:pt>
                <c:pt idx="235">
                  <c:v>963.91798847142854</c:v>
                </c:pt>
                <c:pt idx="236">
                  <c:v>974.32878014285711</c:v>
                </c:pt>
                <c:pt idx="237">
                  <c:v>971.17814581428581</c:v>
                </c:pt>
                <c:pt idx="238">
                  <c:v>959.39751314285718</c:v>
                </c:pt>
                <c:pt idx="239">
                  <c:v>959.39751314285718</c:v>
                </c:pt>
                <c:pt idx="240">
                  <c:v>959.39751314285718</c:v>
                </c:pt>
                <c:pt idx="241">
                  <c:v>958.98656084285722</c:v>
                </c:pt>
                <c:pt idx="242">
                  <c:v>958.98656084285722</c:v>
                </c:pt>
                <c:pt idx="243">
                  <c:v>948.16481687142857</c:v>
                </c:pt>
                <c:pt idx="244">
                  <c:v>964.87687718571431</c:v>
                </c:pt>
                <c:pt idx="245">
                  <c:v>969.39735251428567</c:v>
                </c:pt>
                <c:pt idx="246">
                  <c:v>969.39735251428567</c:v>
                </c:pt>
                <c:pt idx="247">
                  <c:v>983.64369899999997</c:v>
                </c:pt>
                <c:pt idx="248">
                  <c:v>1133.5657385571428</c:v>
                </c:pt>
                <c:pt idx="249">
                  <c:v>1136.0314523714285</c:v>
                </c:pt>
                <c:pt idx="250">
                  <c:v>1147.1271645428571</c:v>
                </c:pt>
                <c:pt idx="251">
                  <c:v>1147.1271645428571</c:v>
                </c:pt>
                <c:pt idx="252">
                  <c:v>1142.6066892142858</c:v>
                </c:pt>
                <c:pt idx="253">
                  <c:v>1145.7573235285713</c:v>
                </c:pt>
                <c:pt idx="254">
                  <c:v>1133.2917703571427</c:v>
                </c:pt>
                <c:pt idx="255">
                  <c:v>989.9449676428568</c:v>
                </c:pt>
                <c:pt idx="256">
                  <c:v>985.42449231428566</c:v>
                </c:pt>
                <c:pt idx="257">
                  <c:v>975.01370064285709</c:v>
                </c:pt>
                <c:pt idx="258">
                  <c:v>962.13719515714274</c:v>
                </c:pt>
                <c:pt idx="259">
                  <c:v>964.87687717142853</c:v>
                </c:pt>
                <c:pt idx="260">
                  <c:v>963.09608387142828</c:v>
                </c:pt>
                <c:pt idx="261">
                  <c:v>966.52068638571404</c:v>
                </c:pt>
                <c:pt idx="262">
                  <c:v>966.93163868571412</c:v>
                </c:pt>
                <c:pt idx="263">
                  <c:v>974.60274832857147</c:v>
                </c:pt>
                <c:pt idx="264">
                  <c:v>983.6436989857142</c:v>
                </c:pt>
                <c:pt idx="265">
                  <c:v>986.10941280000009</c:v>
                </c:pt>
                <c:pt idx="266">
                  <c:v>983.3697307857143</c:v>
                </c:pt>
                <c:pt idx="267">
                  <c:v>983.09576257142851</c:v>
                </c:pt>
                <c:pt idx="268">
                  <c:v>985.56147638571417</c:v>
                </c:pt>
                <c:pt idx="269">
                  <c:v>992.54766552857132</c:v>
                </c:pt>
                <c:pt idx="270">
                  <c:v>984.8765558857142</c:v>
                </c:pt>
                <c:pt idx="271">
                  <c:v>975.83560522857135</c:v>
                </c:pt>
                <c:pt idx="272">
                  <c:v>972.00005039999996</c:v>
                </c:pt>
                <c:pt idx="273">
                  <c:v>981.99988977142846</c:v>
                </c:pt>
                <c:pt idx="274">
                  <c:v>980.9040169714284</c:v>
                </c:pt>
                <c:pt idx="275">
                  <c:v>975.69862114285695</c:v>
                </c:pt>
                <c:pt idx="276">
                  <c:v>963.78100437142859</c:v>
                </c:pt>
                <c:pt idx="277">
                  <c:v>967.61655919999998</c:v>
                </c:pt>
                <c:pt idx="278">
                  <c:v>968.02751149999983</c:v>
                </c:pt>
                <c:pt idx="279">
                  <c:v>1032.3306767142856</c:v>
                </c:pt>
                <c:pt idx="280">
                  <c:v>1021.9198850428571</c:v>
                </c:pt>
                <c:pt idx="281">
                  <c:v>1021.9198850428571</c:v>
                </c:pt>
                <c:pt idx="282">
                  <c:v>1020.5500440285713</c:v>
                </c:pt>
                <c:pt idx="283">
                  <c:v>798.58185748571407</c:v>
                </c:pt>
                <c:pt idx="284">
                  <c:v>270.54111632857138</c:v>
                </c:pt>
                <c:pt idx="285">
                  <c:v>5.342379914285714</c:v>
                </c:pt>
                <c:pt idx="286">
                  <c:v>2.1917456</c:v>
                </c:pt>
                <c:pt idx="287">
                  <c:v>2.1917456</c:v>
                </c:pt>
                <c:pt idx="288">
                  <c:v>2.1917456</c:v>
                </c:pt>
                <c:pt idx="289">
                  <c:v>1.0958728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.68492049999999993</c:v>
                </c:pt>
                <c:pt idx="301">
                  <c:v>1.0958728</c:v>
                </c:pt>
                <c:pt idx="302">
                  <c:v>1.0958728</c:v>
                </c:pt>
                <c:pt idx="303">
                  <c:v>1.0958728</c:v>
                </c:pt>
                <c:pt idx="304">
                  <c:v>1.0958728</c:v>
                </c:pt>
                <c:pt idx="305">
                  <c:v>1.0958728</c:v>
                </c:pt>
                <c:pt idx="306">
                  <c:v>1.0958728</c:v>
                </c:pt>
                <c:pt idx="307">
                  <c:v>0.41095229999999999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21.917456142857141</c:v>
                </c:pt>
                <c:pt idx="313">
                  <c:v>23.287297157142856</c:v>
                </c:pt>
                <c:pt idx="314">
                  <c:v>23.287297157142856</c:v>
                </c:pt>
                <c:pt idx="315">
                  <c:v>23.287297157142856</c:v>
                </c:pt>
                <c:pt idx="316">
                  <c:v>23.287297157142856</c:v>
                </c:pt>
                <c:pt idx="317">
                  <c:v>23.287297157142856</c:v>
                </c:pt>
                <c:pt idx="318">
                  <c:v>23.287297157142856</c:v>
                </c:pt>
                <c:pt idx="319">
                  <c:v>1.3698410142857145</c:v>
                </c:pt>
                <c:pt idx="320">
                  <c:v>0</c:v>
                </c:pt>
                <c:pt idx="321">
                  <c:v>0</c:v>
                </c:pt>
                <c:pt idx="322">
                  <c:v>4.5204753285714281</c:v>
                </c:pt>
                <c:pt idx="323">
                  <c:v>20.136662828571428</c:v>
                </c:pt>
                <c:pt idx="324">
                  <c:v>22.602376642857141</c:v>
                </c:pt>
                <c:pt idx="325">
                  <c:v>28.492692985714285</c:v>
                </c:pt>
                <c:pt idx="326">
                  <c:v>28.903645285714283</c:v>
                </c:pt>
                <c:pt idx="327">
                  <c:v>28.903645285714283</c:v>
                </c:pt>
                <c:pt idx="328">
                  <c:v>29.314597585714285</c:v>
                </c:pt>
                <c:pt idx="329">
                  <c:v>24.794122257142853</c:v>
                </c:pt>
                <c:pt idx="330">
                  <c:v>9.1779347571428556</c:v>
                </c:pt>
                <c:pt idx="331">
                  <c:v>6.7122209428571429</c:v>
                </c:pt>
                <c:pt idx="332">
                  <c:v>0.82190459999999999</c:v>
                </c:pt>
                <c:pt idx="333">
                  <c:v>0.41095229999999999</c:v>
                </c:pt>
                <c:pt idx="334">
                  <c:v>0.41095229999999999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2.0547615142857145</c:v>
                </c:pt>
                <c:pt idx="349">
                  <c:v>2.0547615142857145</c:v>
                </c:pt>
                <c:pt idx="350">
                  <c:v>2.0547615142857145</c:v>
                </c:pt>
                <c:pt idx="351">
                  <c:v>2.0547615142857145</c:v>
                </c:pt>
                <c:pt idx="352">
                  <c:v>2.0547615142857145</c:v>
                </c:pt>
                <c:pt idx="353">
                  <c:v>2.0547615142857145</c:v>
                </c:pt>
                <c:pt idx="354">
                  <c:v>2.0547615142857145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.68492049999999993</c:v>
                </c:pt>
                <c:pt idx="360">
                  <c:v>0.68492049999999993</c:v>
                </c:pt>
                <c:pt idx="361">
                  <c:v>2.7396820142857146</c:v>
                </c:pt>
                <c:pt idx="362">
                  <c:v>16.301107999999999</c:v>
                </c:pt>
                <c:pt idx="363">
                  <c:v>19.040790014285712</c:v>
                </c:pt>
                <c:pt idx="364">
                  <c:v>19.040790014285712</c:v>
                </c:pt>
                <c:pt idx="365">
                  <c:v>19.040790014285712</c:v>
                </c:pt>
                <c:pt idx="366">
                  <c:v>25.342058657142854</c:v>
                </c:pt>
                <c:pt idx="367">
                  <c:v>26.437931457142856</c:v>
                </c:pt>
                <c:pt idx="368">
                  <c:v>27.533804257142855</c:v>
                </c:pt>
                <c:pt idx="369">
                  <c:v>16.027139785714287</c:v>
                </c:pt>
                <c:pt idx="370">
                  <c:v>13.287457771428572</c:v>
                </c:pt>
                <c:pt idx="371">
                  <c:v>14.657298785714286</c:v>
                </c:pt>
                <c:pt idx="372">
                  <c:v>15.068251085714284</c:v>
                </c:pt>
                <c:pt idx="373">
                  <c:v>23.424281242857145</c:v>
                </c:pt>
                <c:pt idx="374">
                  <c:v>35.889834428571433</c:v>
                </c:pt>
                <c:pt idx="375">
                  <c:v>33.424120614285712</c:v>
                </c:pt>
                <c:pt idx="376">
                  <c:v>32.054279600000001</c:v>
                </c:pt>
                <c:pt idx="377">
                  <c:v>32.739200099999998</c:v>
                </c:pt>
                <c:pt idx="378">
                  <c:v>31.369359085714287</c:v>
                </c:pt>
                <c:pt idx="379">
                  <c:v>30.958406785714285</c:v>
                </c:pt>
                <c:pt idx="380">
                  <c:v>15.616187485714287</c:v>
                </c:pt>
                <c:pt idx="381">
                  <c:v>2.0547615000000001</c:v>
                </c:pt>
                <c:pt idx="382">
                  <c:v>5.8903163285714282</c:v>
                </c:pt>
                <c:pt idx="383">
                  <c:v>6.3012686285714281</c:v>
                </c:pt>
                <c:pt idx="384">
                  <c:v>8.0820619428571412</c:v>
                </c:pt>
                <c:pt idx="385">
                  <c:v>8.0820619428571412</c:v>
                </c:pt>
                <c:pt idx="386">
                  <c:v>8.7669824428571417</c:v>
                </c:pt>
                <c:pt idx="387">
                  <c:v>11.506664457142856</c:v>
                </c:pt>
                <c:pt idx="388">
                  <c:v>14.65729877142857</c:v>
                </c:pt>
                <c:pt idx="389">
                  <c:v>14.246346471428572</c:v>
                </c:pt>
                <c:pt idx="390">
                  <c:v>13.150473671428571</c:v>
                </c:pt>
                <c:pt idx="391">
                  <c:v>10.684759857142856</c:v>
                </c:pt>
                <c:pt idx="392">
                  <c:v>10.684759857142856</c:v>
                </c:pt>
                <c:pt idx="393">
                  <c:v>20.821583328571428</c:v>
                </c:pt>
                <c:pt idx="394">
                  <c:v>21.506503828571429</c:v>
                </c:pt>
                <c:pt idx="395">
                  <c:v>22.191424342857143</c:v>
                </c:pt>
                <c:pt idx="396">
                  <c:v>18.081901314285712</c:v>
                </c:pt>
                <c:pt idx="397">
                  <c:v>18.081901314285712</c:v>
                </c:pt>
                <c:pt idx="398">
                  <c:v>18.081901314285712</c:v>
                </c:pt>
                <c:pt idx="399">
                  <c:v>19.862694628571429</c:v>
                </c:pt>
                <c:pt idx="400">
                  <c:v>9.0409506571428579</c:v>
                </c:pt>
                <c:pt idx="401">
                  <c:v>5.6163481428571425</c:v>
                </c:pt>
                <c:pt idx="402">
                  <c:v>1.7807933142857144</c:v>
                </c:pt>
                <c:pt idx="403">
                  <c:v>1.7807933142857144</c:v>
                </c:pt>
                <c:pt idx="404">
                  <c:v>2.1917456142857143</c:v>
                </c:pt>
                <c:pt idx="405">
                  <c:v>2.8766661142857144</c:v>
                </c:pt>
                <c:pt idx="406">
                  <c:v>1.0958728</c:v>
                </c:pt>
                <c:pt idx="407">
                  <c:v>1.0958728</c:v>
                </c:pt>
                <c:pt idx="408">
                  <c:v>1.0958728</c:v>
                </c:pt>
                <c:pt idx="409">
                  <c:v>1.0958728</c:v>
                </c:pt>
                <c:pt idx="410">
                  <c:v>1.0958728</c:v>
                </c:pt>
                <c:pt idx="411">
                  <c:v>11.095712171428572</c:v>
                </c:pt>
                <c:pt idx="412">
                  <c:v>13.835394185714287</c:v>
                </c:pt>
                <c:pt idx="413">
                  <c:v>16.9860285</c:v>
                </c:pt>
                <c:pt idx="414">
                  <c:v>16.9860285</c:v>
                </c:pt>
                <c:pt idx="415">
                  <c:v>16.9860285</c:v>
                </c:pt>
                <c:pt idx="416">
                  <c:v>16.9860285</c:v>
                </c:pt>
                <c:pt idx="417">
                  <c:v>16.9860285</c:v>
                </c:pt>
                <c:pt idx="418">
                  <c:v>6.5752368285714278</c:v>
                </c:pt>
                <c:pt idx="419">
                  <c:v>3.1506343142857141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.68492049999999993</c:v>
                </c:pt>
                <c:pt idx="430">
                  <c:v>4.5204753285714281</c:v>
                </c:pt>
                <c:pt idx="431">
                  <c:v>5.6163481285714285</c:v>
                </c:pt>
                <c:pt idx="432">
                  <c:v>5.6163481285714285</c:v>
                </c:pt>
                <c:pt idx="433">
                  <c:v>6.712220928571428</c:v>
                </c:pt>
                <c:pt idx="434">
                  <c:v>11.232696257142857</c:v>
                </c:pt>
                <c:pt idx="435">
                  <c:v>15.753171585714284</c:v>
                </c:pt>
                <c:pt idx="436">
                  <c:v>33.150152400000003</c:v>
                </c:pt>
                <c:pt idx="437">
                  <c:v>29.314597571428571</c:v>
                </c:pt>
                <c:pt idx="438">
                  <c:v>28.218724771428572</c:v>
                </c:pt>
                <c:pt idx="439">
                  <c:v>28.629677071428571</c:v>
                </c:pt>
                <c:pt idx="440">
                  <c:v>27.533804271428572</c:v>
                </c:pt>
                <c:pt idx="441">
                  <c:v>38.629516442857138</c:v>
                </c:pt>
                <c:pt idx="442">
                  <c:v>38.21856414285714</c:v>
                </c:pt>
                <c:pt idx="443">
                  <c:v>20.136662828571428</c:v>
                </c:pt>
                <c:pt idx="444">
                  <c:v>36.163802628571432</c:v>
                </c:pt>
                <c:pt idx="445">
                  <c:v>45.615705585714288</c:v>
                </c:pt>
                <c:pt idx="446">
                  <c:v>45.889673785714287</c:v>
                </c:pt>
                <c:pt idx="447">
                  <c:v>45.889673785714287</c:v>
                </c:pt>
                <c:pt idx="448">
                  <c:v>30.273486285714284</c:v>
                </c:pt>
                <c:pt idx="449">
                  <c:v>26.163963257142857</c:v>
                </c:pt>
                <c:pt idx="450">
                  <c:v>27.533804271428572</c:v>
                </c:pt>
                <c:pt idx="451">
                  <c:v>13.561425985714285</c:v>
                </c:pt>
                <c:pt idx="452">
                  <c:v>4.7944435285714286</c:v>
                </c:pt>
                <c:pt idx="453">
                  <c:v>4.109523028571429</c:v>
                </c:pt>
                <c:pt idx="454">
                  <c:v>4.109523028571429</c:v>
                </c:pt>
                <c:pt idx="455">
                  <c:v>4.109523028571429</c:v>
                </c:pt>
                <c:pt idx="456">
                  <c:v>4.109523028571429</c:v>
                </c:pt>
                <c:pt idx="457">
                  <c:v>2.7396820142857146</c:v>
                </c:pt>
                <c:pt idx="458">
                  <c:v>0.68492049999999993</c:v>
                </c:pt>
                <c:pt idx="459">
                  <c:v>0.41095229999999999</c:v>
                </c:pt>
                <c:pt idx="460">
                  <c:v>0.41095229999999999</c:v>
                </c:pt>
                <c:pt idx="461">
                  <c:v>0.41095229999999999</c:v>
                </c:pt>
                <c:pt idx="462">
                  <c:v>0.41095229999999999</c:v>
                </c:pt>
                <c:pt idx="463">
                  <c:v>0.41095229999999999</c:v>
                </c:pt>
                <c:pt idx="464">
                  <c:v>0.41095229999999999</c:v>
                </c:pt>
                <c:pt idx="465">
                  <c:v>0.41095229999999999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1.3698410142857145</c:v>
                </c:pt>
                <c:pt idx="471">
                  <c:v>11.095712171428573</c:v>
                </c:pt>
                <c:pt idx="472">
                  <c:v>15.616187500000001</c:v>
                </c:pt>
                <c:pt idx="473">
                  <c:v>16.0271398</c:v>
                </c:pt>
                <c:pt idx="474">
                  <c:v>16.0271398</c:v>
                </c:pt>
                <c:pt idx="475">
                  <c:v>16.0271398</c:v>
                </c:pt>
                <c:pt idx="476">
                  <c:v>18.492853614285714</c:v>
                </c:pt>
                <c:pt idx="477">
                  <c:v>17.533964899999997</c:v>
                </c:pt>
                <c:pt idx="478">
                  <c:v>12.328569071428571</c:v>
                </c:pt>
                <c:pt idx="479">
                  <c:v>12.73952137142857</c:v>
                </c:pt>
                <c:pt idx="480">
                  <c:v>53.423799328571427</c:v>
                </c:pt>
                <c:pt idx="481">
                  <c:v>95.203950085714283</c:v>
                </c:pt>
                <c:pt idx="482">
                  <c:v>102.19013922857143</c:v>
                </c:pt>
                <c:pt idx="483">
                  <c:v>104.24490074285714</c:v>
                </c:pt>
                <c:pt idx="484">
                  <c:v>103.83394844285715</c:v>
                </c:pt>
                <c:pt idx="485">
                  <c:v>104.24490074285714</c:v>
                </c:pt>
                <c:pt idx="486">
                  <c:v>99.998393614285732</c:v>
                </c:pt>
                <c:pt idx="487">
                  <c:v>61.368877171428565</c:v>
                </c:pt>
                <c:pt idx="488">
                  <c:v>19.588726414285709</c:v>
                </c:pt>
                <c:pt idx="489">
                  <c:v>12.602537271428572</c:v>
                </c:pt>
                <c:pt idx="490">
                  <c:v>13.287457771428572</c:v>
                </c:pt>
                <c:pt idx="491">
                  <c:v>16.438092085714285</c:v>
                </c:pt>
                <c:pt idx="492">
                  <c:v>13.972378271428571</c:v>
                </c:pt>
                <c:pt idx="493">
                  <c:v>14.657298785714286</c:v>
                </c:pt>
                <c:pt idx="494">
                  <c:v>12.191584971428572</c:v>
                </c:pt>
                <c:pt idx="495">
                  <c:v>12.191584971428572</c:v>
                </c:pt>
                <c:pt idx="496">
                  <c:v>12.191584971428572</c:v>
                </c:pt>
                <c:pt idx="497">
                  <c:v>9.0409506571428562</c:v>
                </c:pt>
                <c:pt idx="498">
                  <c:v>11.780632685714286</c:v>
                </c:pt>
                <c:pt idx="499">
                  <c:v>27.807772485714285</c:v>
                </c:pt>
                <c:pt idx="500">
                  <c:v>26.437931471428573</c:v>
                </c:pt>
                <c:pt idx="501">
                  <c:v>26.437931471428573</c:v>
                </c:pt>
                <c:pt idx="502">
                  <c:v>54.930624442857145</c:v>
                </c:pt>
                <c:pt idx="503">
                  <c:v>56.026497242857147</c:v>
                </c:pt>
                <c:pt idx="504">
                  <c:v>54.656656228571435</c:v>
                </c:pt>
                <c:pt idx="505">
                  <c:v>50.547133200000005</c:v>
                </c:pt>
                <c:pt idx="506">
                  <c:v>34.519993399999997</c:v>
                </c:pt>
                <c:pt idx="507">
                  <c:v>39.040468728571419</c:v>
                </c:pt>
                <c:pt idx="508">
                  <c:v>39.451421028571424</c:v>
                </c:pt>
                <c:pt idx="509">
                  <c:v>20.684599214285715</c:v>
                </c:pt>
                <c:pt idx="510">
                  <c:v>20.273646914285713</c:v>
                </c:pt>
                <c:pt idx="511">
                  <c:v>24.109201742857145</c:v>
                </c:pt>
                <c:pt idx="512">
                  <c:v>25.479042742857143</c:v>
                </c:pt>
                <c:pt idx="513">
                  <c:v>23.013328928571429</c:v>
                </c:pt>
                <c:pt idx="514">
                  <c:v>18.903805899999998</c:v>
                </c:pt>
                <c:pt idx="515">
                  <c:v>18.903805900000002</c:v>
                </c:pt>
                <c:pt idx="516">
                  <c:v>9.5888870428571416</c:v>
                </c:pt>
                <c:pt idx="517">
                  <c:v>11.643648557142857</c:v>
                </c:pt>
                <c:pt idx="518">
                  <c:v>16.575076185714288</c:v>
                </c:pt>
                <c:pt idx="519">
                  <c:v>13.424441871428572</c:v>
                </c:pt>
                <c:pt idx="520">
                  <c:v>22.465392528571432</c:v>
                </c:pt>
                <c:pt idx="521">
                  <c:v>22.054440228571426</c:v>
                </c:pt>
                <c:pt idx="522">
                  <c:v>23.69824944285714</c:v>
                </c:pt>
                <c:pt idx="523">
                  <c:v>46.574594285714284</c:v>
                </c:pt>
                <c:pt idx="524">
                  <c:v>52.60189472857143</c:v>
                </c:pt>
                <c:pt idx="525">
                  <c:v>44.245864571428569</c:v>
                </c:pt>
                <c:pt idx="526">
                  <c:v>44.245864571428569</c:v>
                </c:pt>
                <c:pt idx="527">
                  <c:v>35.889834414285716</c:v>
                </c:pt>
                <c:pt idx="528">
                  <c:v>36.300786714285714</c:v>
                </c:pt>
                <c:pt idx="529">
                  <c:v>35.61586621428571</c:v>
                </c:pt>
                <c:pt idx="530">
                  <c:v>12.73952137142857</c:v>
                </c:pt>
                <c:pt idx="531">
                  <c:v>4.3834912142857148</c:v>
                </c:pt>
                <c:pt idx="532">
                  <c:v>3.2876184142857148</c:v>
                </c:pt>
                <c:pt idx="533">
                  <c:v>3.3903564857142863</c:v>
                </c:pt>
                <c:pt idx="534">
                  <c:v>2.7054359857142858</c:v>
                </c:pt>
                <c:pt idx="535">
                  <c:v>2.2944836857142858</c:v>
                </c:pt>
                <c:pt idx="536">
                  <c:v>1.3355949714285715</c:v>
                </c:pt>
                <c:pt idx="537">
                  <c:v>0.92464267142857148</c:v>
                </c:pt>
                <c:pt idx="538">
                  <c:v>0.51369037142857144</c:v>
                </c:pt>
                <c:pt idx="539">
                  <c:v>0.51369037142857144</c:v>
                </c:pt>
                <c:pt idx="540">
                  <c:v>0.41095229999999999</c:v>
                </c:pt>
                <c:pt idx="541">
                  <c:v>1.0958728</c:v>
                </c:pt>
                <c:pt idx="542">
                  <c:v>21.643487928571428</c:v>
                </c:pt>
                <c:pt idx="543">
                  <c:v>21.23253562857143</c:v>
                </c:pt>
                <c:pt idx="544">
                  <c:v>21.23253562857143</c:v>
                </c:pt>
                <c:pt idx="545">
                  <c:v>21.643487928571428</c:v>
                </c:pt>
                <c:pt idx="546">
                  <c:v>26.163963257142857</c:v>
                </c:pt>
                <c:pt idx="547">
                  <c:v>28.629677071428571</c:v>
                </c:pt>
                <c:pt idx="548">
                  <c:v>27.94475657142857</c:v>
                </c:pt>
                <c:pt idx="549">
                  <c:v>19.177774114285715</c:v>
                </c:pt>
                <c:pt idx="550">
                  <c:v>19.177774114285715</c:v>
                </c:pt>
                <c:pt idx="551">
                  <c:v>19.177774114285715</c:v>
                </c:pt>
                <c:pt idx="552">
                  <c:v>26.711899657142855</c:v>
                </c:pt>
                <c:pt idx="553">
                  <c:v>24.657138142857143</c:v>
                </c:pt>
                <c:pt idx="554">
                  <c:v>23.561265342857144</c:v>
                </c:pt>
                <c:pt idx="555">
                  <c:v>28.081740671428573</c:v>
                </c:pt>
                <c:pt idx="556">
                  <c:v>16.301108000000003</c:v>
                </c:pt>
                <c:pt idx="557">
                  <c:v>19.040790014285715</c:v>
                </c:pt>
                <c:pt idx="558">
                  <c:v>31.232374985714291</c:v>
                </c:pt>
                <c:pt idx="559">
                  <c:v>23.972217642857142</c:v>
                </c:pt>
                <c:pt idx="560">
                  <c:v>25.616026857142856</c:v>
                </c:pt>
                <c:pt idx="561">
                  <c:v>24.931106342857138</c:v>
                </c:pt>
                <c:pt idx="562">
                  <c:v>23.56126532857143</c:v>
                </c:pt>
                <c:pt idx="563">
                  <c:v>23.56126532857143</c:v>
                </c:pt>
                <c:pt idx="564">
                  <c:v>20.821583314285711</c:v>
                </c:pt>
                <c:pt idx="565">
                  <c:v>24.657138142857143</c:v>
                </c:pt>
                <c:pt idx="566">
                  <c:v>27.122851957142853</c:v>
                </c:pt>
                <c:pt idx="567">
                  <c:v>23.424281228571427</c:v>
                </c:pt>
                <c:pt idx="568">
                  <c:v>22.739360728571427</c:v>
                </c:pt>
                <c:pt idx="569">
                  <c:v>19.588726414285713</c:v>
                </c:pt>
                <c:pt idx="570">
                  <c:v>19.588726414285713</c:v>
                </c:pt>
                <c:pt idx="571">
                  <c:v>20.273646914285713</c:v>
                </c:pt>
                <c:pt idx="572">
                  <c:v>4.2465071142857145</c:v>
                </c:pt>
                <c:pt idx="573">
                  <c:v>1.5068250999999999</c:v>
                </c:pt>
                <c:pt idx="574">
                  <c:v>1.0958728</c:v>
                </c:pt>
                <c:pt idx="575">
                  <c:v>1.7807932999999998</c:v>
                </c:pt>
                <c:pt idx="576">
                  <c:v>1.7807932999999998</c:v>
                </c:pt>
                <c:pt idx="577">
                  <c:v>1.7807932999999998</c:v>
                </c:pt>
                <c:pt idx="578">
                  <c:v>1.0958728</c:v>
                </c:pt>
                <c:pt idx="579">
                  <c:v>1.0958728</c:v>
                </c:pt>
                <c:pt idx="580">
                  <c:v>0.68492049999999993</c:v>
                </c:pt>
                <c:pt idx="581">
                  <c:v>7.6711096428571421</c:v>
                </c:pt>
                <c:pt idx="582">
                  <c:v>8.3560301571428575</c:v>
                </c:pt>
                <c:pt idx="583">
                  <c:v>18.081901314285716</c:v>
                </c:pt>
                <c:pt idx="584">
                  <c:v>30.54745448571429</c:v>
                </c:pt>
                <c:pt idx="585">
                  <c:v>31.232374985714291</c:v>
                </c:pt>
                <c:pt idx="586">
                  <c:v>38.492532328571428</c:v>
                </c:pt>
                <c:pt idx="587">
                  <c:v>38.492532328571428</c:v>
                </c:pt>
                <c:pt idx="588">
                  <c:v>34.246025200000005</c:v>
                </c:pt>
                <c:pt idx="589">
                  <c:v>33.561104685714284</c:v>
                </c:pt>
                <c:pt idx="590">
                  <c:v>32.602215985714288</c:v>
                </c:pt>
                <c:pt idx="591">
                  <c:v>20.13666281428571</c:v>
                </c:pt>
                <c:pt idx="592">
                  <c:v>21.232535628571423</c:v>
                </c:pt>
                <c:pt idx="593">
                  <c:v>13.972378285714287</c:v>
                </c:pt>
                <c:pt idx="594">
                  <c:v>17.396980800000001</c:v>
                </c:pt>
                <c:pt idx="595">
                  <c:v>15.068251085714284</c:v>
                </c:pt>
                <c:pt idx="596">
                  <c:v>17.123012599999999</c:v>
                </c:pt>
                <c:pt idx="597">
                  <c:v>36.163802614285714</c:v>
                </c:pt>
                <c:pt idx="598">
                  <c:v>43.423959957142856</c:v>
                </c:pt>
                <c:pt idx="599">
                  <c:v>56.300465428571435</c:v>
                </c:pt>
                <c:pt idx="600">
                  <c:v>69.587923214285723</c:v>
                </c:pt>
                <c:pt idx="601">
                  <c:v>68.218082214285715</c:v>
                </c:pt>
                <c:pt idx="602">
                  <c:v>73.697446257142857</c:v>
                </c:pt>
                <c:pt idx="603">
                  <c:v>72.738557557142855</c:v>
                </c:pt>
                <c:pt idx="604">
                  <c:v>45.341737385714282</c:v>
                </c:pt>
                <c:pt idx="605">
                  <c:v>46.8485625</c:v>
                </c:pt>
                <c:pt idx="606">
                  <c:v>34.656977528571424</c:v>
                </c:pt>
                <c:pt idx="607">
                  <c:v>29.314597585714285</c:v>
                </c:pt>
                <c:pt idx="608">
                  <c:v>27.25983607142857</c:v>
                </c:pt>
                <c:pt idx="609">
                  <c:v>21.369519728571429</c:v>
                </c:pt>
                <c:pt idx="610">
                  <c:v>19.588726414285713</c:v>
                </c:pt>
                <c:pt idx="611">
                  <c:v>19.177774114285715</c:v>
                </c:pt>
                <c:pt idx="612">
                  <c:v>10.410791657142857</c:v>
                </c:pt>
                <c:pt idx="613">
                  <c:v>8.73273642857143</c:v>
                </c:pt>
                <c:pt idx="614">
                  <c:v>0.78765858571428571</c:v>
                </c:pt>
                <c:pt idx="615">
                  <c:v>3.9382929</c:v>
                </c:pt>
                <c:pt idx="616">
                  <c:v>5.3081339142857145</c:v>
                </c:pt>
                <c:pt idx="617">
                  <c:v>8.73273642857143</c:v>
                </c:pt>
                <c:pt idx="618">
                  <c:v>13.253211757142859</c:v>
                </c:pt>
                <c:pt idx="619">
                  <c:v>15.307973271428571</c:v>
                </c:pt>
                <c:pt idx="620">
                  <c:v>14.520314685714286</c:v>
                </c:pt>
                <c:pt idx="621">
                  <c:v>15.205235185714287</c:v>
                </c:pt>
                <c:pt idx="622">
                  <c:v>12.73952137142857</c:v>
                </c:pt>
                <c:pt idx="623">
                  <c:v>11.369680357142856</c:v>
                </c:pt>
                <c:pt idx="624">
                  <c:v>7.9450778428571436</c:v>
                </c:pt>
                <c:pt idx="625">
                  <c:v>3.4246025142857142</c:v>
                </c:pt>
                <c:pt idx="626">
                  <c:v>1.3698409999999999</c:v>
                </c:pt>
                <c:pt idx="627">
                  <c:v>1.3698409999999999</c:v>
                </c:pt>
                <c:pt idx="628">
                  <c:v>1.0958728</c:v>
                </c:pt>
                <c:pt idx="629">
                  <c:v>0.41095229999999999</c:v>
                </c:pt>
                <c:pt idx="630">
                  <c:v>0.41095229999999999</c:v>
                </c:pt>
                <c:pt idx="631">
                  <c:v>0.41095229999999999</c:v>
                </c:pt>
                <c:pt idx="632">
                  <c:v>11.232696271428569</c:v>
                </c:pt>
                <c:pt idx="633">
                  <c:v>11.232696271428569</c:v>
                </c:pt>
                <c:pt idx="634">
                  <c:v>11.232696271428569</c:v>
                </c:pt>
                <c:pt idx="635">
                  <c:v>10.821743971428571</c:v>
                </c:pt>
                <c:pt idx="636">
                  <c:v>10.821743971428571</c:v>
                </c:pt>
                <c:pt idx="637">
                  <c:v>10.821743971428571</c:v>
                </c:pt>
                <c:pt idx="638">
                  <c:v>12.294323057142856</c:v>
                </c:pt>
                <c:pt idx="639">
                  <c:v>4.6232133999999991</c:v>
                </c:pt>
                <c:pt idx="640">
                  <c:v>7.3628954142857141</c:v>
                </c:pt>
                <c:pt idx="641">
                  <c:v>15.718925571428571</c:v>
                </c:pt>
                <c:pt idx="642">
                  <c:v>16.814798371428569</c:v>
                </c:pt>
                <c:pt idx="643">
                  <c:v>17.225750671428568</c:v>
                </c:pt>
                <c:pt idx="644">
                  <c:v>17.225750671428568</c:v>
                </c:pt>
                <c:pt idx="645">
                  <c:v>15.753171585714284</c:v>
                </c:pt>
                <c:pt idx="646">
                  <c:v>13.698410071428569</c:v>
                </c:pt>
                <c:pt idx="647">
                  <c:v>12.054600857142855</c:v>
                </c:pt>
                <c:pt idx="648">
                  <c:v>3.6985707000000003</c:v>
                </c:pt>
                <c:pt idx="649">
                  <c:v>2.6026978999999999</c:v>
                </c:pt>
                <c:pt idx="650">
                  <c:v>2.1917456</c:v>
                </c:pt>
                <c:pt idx="651">
                  <c:v>2.1917456</c:v>
                </c:pt>
                <c:pt idx="652">
                  <c:v>2.1917456</c:v>
                </c:pt>
                <c:pt idx="653">
                  <c:v>1.0958728</c:v>
                </c:pt>
                <c:pt idx="654">
                  <c:v>0</c:v>
                </c:pt>
                <c:pt idx="655">
                  <c:v>4.109523028571429</c:v>
                </c:pt>
                <c:pt idx="656">
                  <c:v>4.109523028571429</c:v>
                </c:pt>
                <c:pt idx="657">
                  <c:v>4.109523028571429</c:v>
                </c:pt>
                <c:pt idx="658">
                  <c:v>4.109523028571429</c:v>
                </c:pt>
                <c:pt idx="659">
                  <c:v>4.109523028571429</c:v>
                </c:pt>
                <c:pt idx="660">
                  <c:v>4.109523028571429</c:v>
                </c:pt>
                <c:pt idx="661">
                  <c:v>4.109523028571429</c:v>
                </c:pt>
                <c:pt idx="662">
                  <c:v>0</c:v>
                </c:pt>
                <c:pt idx="663">
                  <c:v>0</c:v>
                </c:pt>
                <c:pt idx="664">
                  <c:v>0</c:v>
                </c:pt>
                <c:pt idx="665">
                  <c:v>0</c:v>
                </c:pt>
                <c:pt idx="666">
                  <c:v>0</c:v>
                </c:pt>
                <c:pt idx="667">
                  <c:v>0</c:v>
                </c:pt>
                <c:pt idx="668">
                  <c:v>0</c:v>
                </c:pt>
                <c:pt idx="669">
                  <c:v>0</c:v>
                </c:pt>
                <c:pt idx="670">
                  <c:v>0</c:v>
                </c:pt>
                <c:pt idx="671">
                  <c:v>0.41095229999999999</c:v>
                </c:pt>
                <c:pt idx="672">
                  <c:v>2.4657138142857145</c:v>
                </c:pt>
                <c:pt idx="673">
                  <c:v>2.4657138142857145</c:v>
                </c:pt>
                <c:pt idx="674">
                  <c:v>2.4657138142857145</c:v>
                </c:pt>
                <c:pt idx="675">
                  <c:v>2.4657138142857145</c:v>
                </c:pt>
                <c:pt idx="676">
                  <c:v>2.4657138142857145</c:v>
                </c:pt>
                <c:pt idx="677">
                  <c:v>2.4657138142857145</c:v>
                </c:pt>
                <c:pt idx="678">
                  <c:v>2.0547615142857145</c:v>
                </c:pt>
                <c:pt idx="679">
                  <c:v>0</c:v>
                </c:pt>
                <c:pt idx="680">
                  <c:v>0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7.6711096428571421</c:v>
                </c:pt>
                <c:pt idx="689">
                  <c:v>7.6711096428571421</c:v>
                </c:pt>
                <c:pt idx="690">
                  <c:v>7.6711096428571421</c:v>
                </c:pt>
                <c:pt idx="691">
                  <c:v>7.6711096428571421</c:v>
                </c:pt>
                <c:pt idx="692">
                  <c:v>8.082061942857143</c:v>
                </c:pt>
                <c:pt idx="693">
                  <c:v>18.492853614285714</c:v>
                </c:pt>
                <c:pt idx="694">
                  <c:v>18.903805914285716</c:v>
                </c:pt>
                <c:pt idx="695">
                  <c:v>17.12301261428571</c:v>
                </c:pt>
                <c:pt idx="696">
                  <c:v>17.12301261428571</c:v>
                </c:pt>
                <c:pt idx="697">
                  <c:v>24.383169957142854</c:v>
                </c:pt>
                <c:pt idx="698">
                  <c:v>30.273486299999998</c:v>
                </c:pt>
                <c:pt idx="699">
                  <c:v>31.64332731428571</c:v>
                </c:pt>
                <c:pt idx="700">
                  <c:v>23.013328957142853</c:v>
                </c:pt>
                <c:pt idx="701">
                  <c:v>22.602376657142855</c:v>
                </c:pt>
                <c:pt idx="702">
                  <c:v>17.807933114285714</c:v>
                </c:pt>
                <c:pt idx="703">
                  <c:v>22.328408442857146</c:v>
                </c:pt>
                <c:pt idx="704">
                  <c:v>16.849044414285711</c:v>
                </c:pt>
                <c:pt idx="705">
                  <c:v>15.479203399999999</c:v>
                </c:pt>
                <c:pt idx="706">
                  <c:v>31.095390900000002</c:v>
                </c:pt>
                <c:pt idx="707">
                  <c:v>36.300786728571431</c:v>
                </c:pt>
                <c:pt idx="708">
                  <c:v>40.82126205714286</c:v>
                </c:pt>
                <c:pt idx="709">
                  <c:v>40.410309757142855</c:v>
                </c:pt>
                <c:pt idx="710">
                  <c:v>36.985707228571428</c:v>
                </c:pt>
                <c:pt idx="711">
                  <c:v>40.136341542857146</c:v>
                </c:pt>
                <c:pt idx="712">
                  <c:v>38.766500528571427</c:v>
                </c:pt>
                <c:pt idx="713">
                  <c:v>42.602055342857135</c:v>
                </c:pt>
                <c:pt idx="714">
                  <c:v>43.971896357142853</c:v>
                </c:pt>
                <c:pt idx="715">
                  <c:v>39.862373328571437</c:v>
                </c:pt>
                <c:pt idx="716">
                  <c:v>39.17745282857144</c:v>
                </c:pt>
                <c:pt idx="717">
                  <c:v>38.08158002857143</c:v>
                </c:pt>
                <c:pt idx="718">
                  <c:v>34.930945714285706</c:v>
                </c:pt>
                <c:pt idx="719">
                  <c:v>31.780311399999995</c:v>
                </c:pt>
                <c:pt idx="720">
                  <c:v>10.547775771428572</c:v>
                </c:pt>
                <c:pt idx="721">
                  <c:v>2.1917456142857143</c:v>
                </c:pt>
                <c:pt idx="722">
                  <c:v>1.7807933142857144</c:v>
                </c:pt>
                <c:pt idx="723">
                  <c:v>1.7807933142857144</c:v>
                </c:pt>
                <c:pt idx="724">
                  <c:v>1.7807933142857144</c:v>
                </c:pt>
                <c:pt idx="725">
                  <c:v>10.136823457142857</c:v>
                </c:pt>
                <c:pt idx="726">
                  <c:v>10.136823457142857</c:v>
                </c:pt>
                <c:pt idx="727">
                  <c:v>10.547775757142857</c:v>
                </c:pt>
                <c:pt idx="728">
                  <c:v>10.547775757142857</c:v>
                </c:pt>
                <c:pt idx="729">
                  <c:v>10.547775757142857</c:v>
                </c:pt>
                <c:pt idx="730">
                  <c:v>10.547775757142857</c:v>
                </c:pt>
                <c:pt idx="731">
                  <c:v>10.547775757142857</c:v>
                </c:pt>
                <c:pt idx="732">
                  <c:v>0.41095229999999999</c:v>
                </c:pt>
                <c:pt idx="733">
                  <c:v>0.41095229999999999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5.8903163428571421</c:v>
                </c:pt>
                <c:pt idx="738">
                  <c:v>16.712060314285711</c:v>
                </c:pt>
                <c:pt idx="739">
                  <c:v>54.245703942857141</c:v>
                </c:pt>
                <c:pt idx="740">
                  <c:v>54.656656242857146</c:v>
                </c:pt>
                <c:pt idx="741">
                  <c:v>55.067608542857151</c:v>
                </c:pt>
                <c:pt idx="742">
                  <c:v>60.957924885714291</c:v>
                </c:pt>
                <c:pt idx="743">
                  <c:v>60.957924885714291</c:v>
                </c:pt>
                <c:pt idx="744">
                  <c:v>55.067608542857151</c:v>
                </c:pt>
                <c:pt idx="745">
                  <c:v>44.656816871428582</c:v>
                </c:pt>
                <c:pt idx="746">
                  <c:v>7.1231732428571428</c:v>
                </c:pt>
                <c:pt idx="747">
                  <c:v>6.7122209428571429</c:v>
                </c:pt>
                <c:pt idx="748">
                  <c:v>51.916974228571426</c:v>
                </c:pt>
                <c:pt idx="749">
                  <c:v>46.71157838571429</c:v>
                </c:pt>
                <c:pt idx="750">
                  <c:v>50.547133214285722</c:v>
                </c:pt>
                <c:pt idx="751">
                  <c:v>50.547133214285722</c:v>
                </c:pt>
                <c:pt idx="752">
                  <c:v>50.136180914285717</c:v>
                </c:pt>
                <c:pt idx="753">
                  <c:v>50.821101414285714</c:v>
                </c:pt>
                <c:pt idx="754">
                  <c:v>51.232053714285719</c:v>
                </c:pt>
                <c:pt idx="755">
                  <c:v>13.972378285714285</c:v>
                </c:pt>
                <c:pt idx="756">
                  <c:v>32.054279600000001</c:v>
                </c:pt>
                <c:pt idx="757">
                  <c:v>32.3282478</c:v>
                </c:pt>
                <c:pt idx="758">
                  <c:v>32.3282478</c:v>
                </c:pt>
                <c:pt idx="759">
                  <c:v>34.109041114285716</c:v>
                </c:pt>
                <c:pt idx="760">
                  <c:v>33.424120614285712</c:v>
                </c:pt>
                <c:pt idx="761">
                  <c:v>33.698088814285711</c:v>
                </c:pt>
                <c:pt idx="762">
                  <c:v>28.766661171428574</c:v>
                </c:pt>
                <c:pt idx="763">
                  <c:v>17.944917199999999</c:v>
                </c:pt>
                <c:pt idx="764">
                  <c:v>13.835394171428574</c:v>
                </c:pt>
                <c:pt idx="765">
                  <c:v>13.835394171428574</c:v>
                </c:pt>
                <c:pt idx="766">
                  <c:v>12.054600857142857</c:v>
                </c:pt>
                <c:pt idx="767">
                  <c:v>12.054600857142857</c:v>
                </c:pt>
                <c:pt idx="768">
                  <c:v>11.369680357142856</c:v>
                </c:pt>
                <c:pt idx="769">
                  <c:v>7.9450778428571436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.41095229999999999</c:v>
                </c:pt>
                <c:pt idx="776">
                  <c:v>10.136823457142857</c:v>
                </c:pt>
                <c:pt idx="777">
                  <c:v>10.136823457142857</c:v>
                </c:pt>
                <c:pt idx="778">
                  <c:v>12.191584971428572</c:v>
                </c:pt>
                <c:pt idx="779">
                  <c:v>26.848883757142858</c:v>
                </c:pt>
                <c:pt idx="780">
                  <c:v>28.903645271428569</c:v>
                </c:pt>
                <c:pt idx="781">
                  <c:v>31.369359085714283</c:v>
                </c:pt>
                <c:pt idx="782">
                  <c:v>37.259675428571427</c:v>
                </c:pt>
                <c:pt idx="783">
                  <c:v>27.533804271428568</c:v>
                </c:pt>
                <c:pt idx="784">
                  <c:v>27.533804271428568</c:v>
                </c:pt>
                <c:pt idx="785">
                  <c:v>25.479042757142853</c:v>
                </c:pt>
                <c:pt idx="786">
                  <c:v>10.821743971428571</c:v>
                </c:pt>
                <c:pt idx="787">
                  <c:v>11.917616771428571</c:v>
                </c:pt>
                <c:pt idx="788">
                  <c:v>14.657298785714286</c:v>
                </c:pt>
                <c:pt idx="789">
                  <c:v>24.383169942857144</c:v>
                </c:pt>
                <c:pt idx="790">
                  <c:v>34.793961614285713</c:v>
                </c:pt>
                <c:pt idx="791">
                  <c:v>52.190942428571425</c:v>
                </c:pt>
                <c:pt idx="792">
                  <c:v>52.190942428571425</c:v>
                </c:pt>
                <c:pt idx="793">
                  <c:v>52.190942428571425</c:v>
                </c:pt>
                <c:pt idx="794">
                  <c:v>49.45126041428572</c:v>
                </c:pt>
                <c:pt idx="795">
                  <c:v>44.245864585714287</c:v>
                </c:pt>
                <c:pt idx="796">
                  <c:v>28.218724785714283</c:v>
                </c:pt>
                <c:pt idx="797">
                  <c:v>17.807933114285714</c:v>
                </c:pt>
                <c:pt idx="798">
                  <c:v>0.41095229999999999</c:v>
                </c:pt>
                <c:pt idx="799">
                  <c:v>0.41095229999999999</c:v>
                </c:pt>
                <c:pt idx="800">
                  <c:v>0.41095229999999999</c:v>
                </c:pt>
                <c:pt idx="801">
                  <c:v>0</c:v>
                </c:pt>
                <c:pt idx="802">
                  <c:v>0</c:v>
                </c:pt>
                <c:pt idx="803">
                  <c:v>0</c:v>
                </c:pt>
                <c:pt idx="8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B6-4818-925F-A1C544F08546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ignup</c:v>
                </c:pt>
              </c:strCache>
            </c:strRef>
          </c:tx>
          <c:spPr>
            <a:solidFill>
              <a:schemeClr val="accent4"/>
            </a:solidFill>
            <a:ln w="12700">
              <a:solidFill>
                <a:schemeClr val="accent4"/>
              </a:solidFill>
            </a:ln>
            <a:effectLst/>
          </c:spPr>
          <c:invertIfNegative val="0"/>
          <c:cat>
            <c:numRef>
              <c:f>Sheet1!$A$2:$A$864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E$2:$E$864</c:f>
              <c:numCache>
                <c:formatCode>#,##0</c:formatCode>
                <c:ptCount val="8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2.558468285714286</c:v>
                </c:pt>
                <c:pt idx="20">
                  <c:v>48.193137957142866</c:v>
                </c:pt>
                <c:pt idx="21">
                  <c:v>118.87014470000001</c:v>
                </c:pt>
                <c:pt idx="22">
                  <c:v>205.82088844285713</c:v>
                </c:pt>
                <c:pt idx="23">
                  <c:v>328.14961067142855</c:v>
                </c:pt>
                <c:pt idx="24">
                  <c:v>487.6214319857142</c:v>
                </c:pt>
                <c:pt idx="25">
                  <c:v>689.23109728571421</c:v>
                </c:pt>
                <c:pt idx="26">
                  <c:v>901.26581892857132</c:v>
                </c:pt>
                <c:pt idx="27">
                  <c:v>1062.4811765571428</c:v>
                </c:pt>
                <c:pt idx="28">
                  <c:v>1194.4715267142856</c:v>
                </c:pt>
                <c:pt idx="29">
                  <c:v>1301.8569785</c:v>
                </c:pt>
                <c:pt idx="30">
                  <c:v>1369.1290588285713</c:v>
                </c:pt>
                <c:pt idx="31">
                  <c:v>1406.4286119285714</c:v>
                </c:pt>
                <c:pt idx="32">
                  <c:v>1426.6449190000001</c:v>
                </c:pt>
                <c:pt idx="33">
                  <c:v>1439.6835124714287</c:v>
                </c:pt>
                <c:pt idx="34">
                  <c:v>1419.6169178285713</c:v>
                </c:pt>
                <c:pt idx="35">
                  <c:v>1381.3391532000001</c:v>
                </c:pt>
                <c:pt idx="36">
                  <c:v>1338.4986157571427</c:v>
                </c:pt>
                <c:pt idx="37">
                  <c:v>1294.6819504571426</c:v>
                </c:pt>
                <c:pt idx="38">
                  <c:v>1258.3639031999999</c:v>
                </c:pt>
                <c:pt idx="39">
                  <c:v>1220.8667220428572</c:v>
                </c:pt>
                <c:pt idx="40">
                  <c:v>1177.2697628857145</c:v>
                </c:pt>
                <c:pt idx="41">
                  <c:v>1155.5936201</c:v>
                </c:pt>
                <c:pt idx="42">
                  <c:v>1149.3097919285715</c:v>
                </c:pt>
                <c:pt idx="43">
                  <c:v>1157.7179580285713</c:v>
                </c:pt>
                <c:pt idx="44">
                  <c:v>1193.8659580428571</c:v>
                </c:pt>
                <c:pt idx="45">
                  <c:v>1227.7397581857144</c:v>
                </c:pt>
                <c:pt idx="46">
                  <c:v>1272.2860492285715</c:v>
                </c:pt>
                <c:pt idx="47">
                  <c:v>1318.2839237000003</c:v>
                </c:pt>
                <c:pt idx="48">
                  <c:v>1358.8481884571429</c:v>
                </c:pt>
                <c:pt idx="49">
                  <c:v>1395.721527742857</c:v>
                </c:pt>
                <c:pt idx="50">
                  <c:v>1426.2142125285714</c:v>
                </c:pt>
                <c:pt idx="51">
                  <c:v>1436.8049486</c:v>
                </c:pt>
                <c:pt idx="52">
                  <c:v>1450.0935810142855</c:v>
                </c:pt>
                <c:pt idx="53">
                  <c:v>1459.0855601714286</c:v>
                </c:pt>
                <c:pt idx="54">
                  <c:v>1465.2262928285713</c:v>
                </c:pt>
                <c:pt idx="55">
                  <c:v>1518.0471734714286</c:v>
                </c:pt>
                <c:pt idx="56">
                  <c:v>1613.2479122857144</c:v>
                </c:pt>
                <c:pt idx="57">
                  <c:v>1724.6923791142856</c:v>
                </c:pt>
                <c:pt idx="58">
                  <c:v>1846.7560834000001</c:v>
                </c:pt>
                <c:pt idx="59">
                  <c:v>1990.6294933428574</c:v>
                </c:pt>
                <c:pt idx="60">
                  <c:v>2147.6548309571426</c:v>
                </c:pt>
                <c:pt idx="61">
                  <c:v>2330.9387896857143</c:v>
                </c:pt>
                <c:pt idx="62">
                  <c:v>2477.9273603571428</c:v>
                </c:pt>
                <c:pt idx="63">
                  <c:v>2578.0733476571431</c:v>
                </c:pt>
                <c:pt idx="64">
                  <c:v>2620.8539859714288</c:v>
                </c:pt>
                <c:pt idx="65">
                  <c:v>2601.6103467142862</c:v>
                </c:pt>
                <c:pt idx="66">
                  <c:v>2539.3680755999999</c:v>
                </c:pt>
                <c:pt idx="67">
                  <c:v>2450.9158497857143</c:v>
                </c:pt>
                <c:pt idx="68">
                  <c:v>2328.0929243999999</c:v>
                </c:pt>
                <c:pt idx="69">
                  <c:v>2180.2635470571431</c:v>
                </c:pt>
                <c:pt idx="70">
                  <c:v>2024.6075162285711</c:v>
                </c:pt>
                <c:pt idx="71">
                  <c:v>1900.1744568142856</c:v>
                </c:pt>
                <c:pt idx="72">
                  <c:v>1868.2265039285714</c:v>
                </c:pt>
                <c:pt idx="73">
                  <c:v>1891.7499286714285</c:v>
                </c:pt>
                <c:pt idx="74">
                  <c:v>1959.4943501285713</c:v>
                </c:pt>
                <c:pt idx="75">
                  <c:v>2085.7408753285713</c:v>
                </c:pt>
                <c:pt idx="76">
                  <c:v>2260.864452342857</c:v>
                </c:pt>
                <c:pt idx="77">
                  <c:v>2444.4380609142859</c:v>
                </c:pt>
                <c:pt idx="78">
                  <c:v>2622.1104749571427</c:v>
                </c:pt>
                <c:pt idx="79">
                  <c:v>2739.9945922285719</c:v>
                </c:pt>
                <c:pt idx="80">
                  <c:v>2824.5970800857144</c:v>
                </c:pt>
                <c:pt idx="81">
                  <c:v>2899.2754338857144</c:v>
                </c:pt>
                <c:pt idx="82">
                  <c:v>2935.8952133714288</c:v>
                </c:pt>
                <c:pt idx="83">
                  <c:v>2957.7109899714283</c:v>
                </c:pt>
                <c:pt idx="84">
                  <c:v>2968.6543719571423</c:v>
                </c:pt>
                <c:pt idx="85">
                  <c:v>2996.8733284999994</c:v>
                </c:pt>
                <c:pt idx="86">
                  <c:v>3020.7075634285711</c:v>
                </c:pt>
                <c:pt idx="87">
                  <c:v>3054.5346022857143</c:v>
                </c:pt>
                <c:pt idx="88">
                  <c:v>3091.3095143142859</c:v>
                </c:pt>
                <c:pt idx="89">
                  <c:v>3114.2418924000003</c:v>
                </c:pt>
                <c:pt idx="90">
                  <c:v>3118.3589265285714</c:v>
                </c:pt>
                <c:pt idx="91">
                  <c:v>3050.5938449714295</c:v>
                </c:pt>
                <c:pt idx="92">
                  <c:v>2941.7404756285719</c:v>
                </c:pt>
                <c:pt idx="93">
                  <c:v>2833.8872704428572</c:v>
                </c:pt>
                <c:pt idx="94">
                  <c:v>2720.6715979000001</c:v>
                </c:pt>
                <c:pt idx="95">
                  <c:v>2613.4823310857141</c:v>
                </c:pt>
                <c:pt idx="96">
                  <c:v>2502.4555025857144</c:v>
                </c:pt>
                <c:pt idx="97">
                  <c:v>2363.6647556714283</c:v>
                </c:pt>
                <c:pt idx="98">
                  <c:v>2287.2746883714285</c:v>
                </c:pt>
                <c:pt idx="99">
                  <c:v>2236.7315831714286</c:v>
                </c:pt>
                <c:pt idx="100">
                  <c:v>2203.179825257143</c:v>
                </c:pt>
                <c:pt idx="101">
                  <c:v>2177.0048526571431</c:v>
                </c:pt>
                <c:pt idx="102">
                  <c:v>2150.3120511714292</c:v>
                </c:pt>
                <c:pt idx="103">
                  <c:v>2120.9107608285717</c:v>
                </c:pt>
                <c:pt idx="104">
                  <c:v>2099.2283483000001</c:v>
                </c:pt>
                <c:pt idx="105">
                  <c:v>2111.0372792000003</c:v>
                </c:pt>
                <c:pt idx="106">
                  <c:v>2122.0406785285718</c:v>
                </c:pt>
                <c:pt idx="107">
                  <c:v>2129.0135106285716</c:v>
                </c:pt>
                <c:pt idx="108">
                  <c:v>2132.8140576285718</c:v>
                </c:pt>
                <c:pt idx="109">
                  <c:v>2142.2383214571432</c:v>
                </c:pt>
                <c:pt idx="110">
                  <c:v>2145.4209297000002</c:v>
                </c:pt>
                <c:pt idx="111">
                  <c:v>2138.431474514286</c:v>
                </c:pt>
                <c:pt idx="112">
                  <c:v>2111.0385502714289</c:v>
                </c:pt>
                <c:pt idx="113">
                  <c:v>2076.4216032000004</c:v>
                </c:pt>
                <c:pt idx="114">
                  <c:v>2043.3534835142859</c:v>
                </c:pt>
                <c:pt idx="115">
                  <c:v>2005.3684984285715</c:v>
                </c:pt>
                <c:pt idx="116">
                  <c:v>1959.4894939857143</c:v>
                </c:pt>
                <c:pt idx="117">
                  <c:v>1906.8969507714285</c:v>
                </c:pt>
                <c:pt idx="118">
                  <c:v>1840.1319396857143</c:v>
                </c:pt>
                <c:pt idx="119">
                  <c:v>1752.6446989285712</c:v>
                </c:pt>
                <c:pt idx="120">
                  <c:v>1665.5514508571428</c:v>
                </c:pt>
                <c:pt idx="121">
                  <c:v>1569.9060400571427</c:v>
                </c:pt>
                <c:pt idx="122">
                  <c:v>1469.5102252428569</c:v>
                </c:pt>
                <c:pt idx="123">
                  <c:v>1349.8877375857144</c:v>
                </c:pt>
                <c:pt idx="124">
                  <c:v>1242.6944808000003</c:v>
                </c:pt>
                <c:pt idx="125">
                  <c:v>1171.7913492000002</c:v>
                </c:pt>
                <c:pt idx="126">
                  <c:v>1125.2132951285714</c:v>
                </c:pt>
                <c:pt idx="127">
                  <c:v>1092.6624274857143</c:v>
                </c:pt>
                <c:pt idx="128">
                  <c:v>1069.4539204857142</c:v>
                </c:pt>
                <c:pt idx="129">
                  <c:v>1045.4034333285713</c:v>
                </c:pt>
                <c:pt idx="130">
                  <c:v>1009.9623161571428</c:v>
                </c:pt>
                <c:pt idx="131">
                  <c:v>981.47271772857141</c:v>
                </c:pt>
                <c:pt idx="132">
                  <c:v>963.62763604285715</c:v>
                </c:pt>
                <c:pt idx="133">
                  <c:v>948.29907921428571</c:v>
                </c:pt>
                <c:pt idx="134">
                  <c:v>938.33314984285721</c:v>
                </c:pt>
                <c:pt idx="135">
                  <c:v>934.09211784285719</c:v>
                </c:pt>
                <c:pt idx="136">
                  <c:v>929.46825694285701</c:v>
                </c:pt>
                <c:pt idx="137">
                  <c:v>935.61371259999999</c:v>
                </c:pt>
                <c:pt idx="138">
                  <c:v>938.33999194285695</c:v>
                </c:pt>
                <c:pt idx="139">
                  <c:v>939.54768035714289</c:v>
                </c:pt>
                <c:pt idx="140">
                  <c:v>950.15305968571431</c:v>
                </c:pt>
                <c:pt idx="141">
                  <c:v>964.23918508571421</c:v>
                </c:pt>
                <c:pt idx="142">
                  <c:v>982.0037665000001</c:v>
                </c:pt>
                <c:pt idx="143">
                  <c:v>1015.1060950142858</c:v>
                </c:pt>
                <c:pt idx="144">
                  <c:v>1061.2987296285714</c:v>
                </c:pt>
                <c:pt idx="145">
                  <c:v>1105.9889601714283</c:v>
                </c:pt>
                <c:pt idx="146">
                  <c:v>1135.6249265571428</c:v>
                </c:pt>
                <c:pt idx="147">
                  <c:v>1146.8280651714285</c:v>
                </c:pt>
                <c:pt idx="148">
                  <c:v>1144.2894600142856</c:v>
                </c:pt>
                <c:pt idx="149">
                  <c:v>1128.4125400571427</c:v>
                </c:pt>
                <c:pt idx="150">
                  <c:v>1093.5598261999999</c:v>
                </c:pt>
                <c:pt idx="151">
                  <c:v>1042.2021585285715</c:v>
                </c:pt>
                <c:pt idx="152">
                  <c:v>993.36455097142868</c:v>
                </c:pt>
                <c:pt idx="153">
                  <c:v>955.51787551428583</c:v>
                </c:pt>
                <c:pt idx="154">
                  <c:v>924.71131114285708</c:v>
                </c:pt>
                <c:pt idx="155">
                  <c:v>902.41834148571434</c:v>
                </c:pt>
                <c:pt idx="156">
                  <c:v>885.78391615714281</c:v>
                </c:pt>
                <c:pt idx="157">
                  <c:v>870.62262929999997</c:v>
                </c:pt>
                <c:pt idx="158">
                  <c:v>845.99269850000007</c:v>
                </c:pt>
                <c:pt idx="159">
                  <c:v>830.11396498571423</c:v>
                </c:pt>
                <c:pt idx="160">
                  <c:v>816.12247062857136</c:v>
                </c:pt>
                <c:pt idx="161">
                  <c:v>804.97563644285708</c:v>
                </c:pt>
                <c:pt idx="162">
                  <c:v>795.71906088571427</c:v>
                </c:pt>
                <c:pt idx="163">
                  <c:v>805.02557838571431</c:v>
                </c:pt>
                <c:pt idx="164">
                  <c:v>834.0926894142857</c:v>
                </c:pt>
                <c:pt idx="165">
                  <c:v>892.96927301428582</c:v>
                </c:pt>
                <c:pt idx="166">
                  <c:v>960.18275365714294</c:v>
                </c:pt>
                <c:pt idx="167">
                  <c:v>1146.5382589857143</c:v>
                </c:pt>
                <c:pt idx="168">
                  <c:v>1342.6831599</c:v>
                </c:pt>
                <c:pt idx="169">
                  <c:v>1549.8998024428572</c:v>
                </c:pt>
                <c:pt idx="170">
                  <c:v>1725.2498367285716</c:v>
                </c:pt>
                <c:pt idx="171">
                  <c:v>1875.5916333142857</c:v>
                </c:pt>
                <c:pt idx="172">
                  <c:v>2012.7631123285714</c:v>
                </c:pt>
                <c:pt idx="173">
                  <c:v>2138.9572197714283</c:v>
                </c:pt>
                <c:pt idx="174">
                  <c:v>2128.0269644428568</c:v>
                </c:pt>
                <c:pt idx="175">
                  <c:v>2032.7855282714283</c:v>
                </c:pt>
                <c:pt idx="176">
                  <c:v>1880.6952371999998</c:v>
                </c:pt>
                <c:pt idx="177">
                  <c:v>1735.9765204571427</c:v>
                </c:pt>
                <c:pt idx="178">
                  <c:v>1591.738360085714</c:v>
                </c:pt>
                <c:pt idx="179">
                  <c:v>1423.420053757143</c:v>
                </c:pt>
                <c:pt idx="180">
                  <c:v>1261.1124498285715</c:v>
                </c:pt>
                <c:pt idx="181">
                  <c:v>1130.5273412428571</c:v>
                </c:pt>
                <c:pt idx="182">
                  <c:v>1091.3175561857145</c:v>
                </c:pt>
                <c:pt idx="183">
                  <c:v>1125.1873205428569</c:v>
                </c:pt>
                <c:pt idx="184">
                  <c:v>1217.6457216142858</c:v>
                </c:pt>
                <c:pt idx="185">
                  <c:v>1361.4653897285716</c:v>
                </c:pt>
                <c:pt idx="186">
                  <c:v>1569.4567427428572</c:v>
                </c:pt>
                <c:pt idx="187">
                  <c:v>1762.079231485714</c:v>
                </c:pt>
                <c:pt idx="188">
                  <c:v>1901.5575976285711</c:v>
                </c:pt>
                <c:pt idx="189">
                  <c:v>2012.2969473285714</c:v>
                </c:pt>
                <c:pt idx="190">
                  <c:v>2099.4554984714282</c:v>
                </c:pt>
                <c:pt idx="191">
                  <c:v>2146.3370585857142</c:v>
                </c:pt>
                <c:pt idx="192">
                  <c:v>2179.4964129714285</c:v>
                </c:pt>
                <c:pt idx="193">
                  <c:v>2140.8809681714283</c:v>
                </c:pt>
                <c:pt idx="194">
                  <c:v>1977.762249842857</c:v>
                </c:pt>
                <c:pt idx="195">
                  <c:v>1861.0023883714287</c:v>
                </c:pt>
                <c:pt idx="196">
                  <c:v>1751.2838545571428</c:v>
                </c:pt>
                <c:pt idx="197">
                  <c:v>1623.5313792428572</c:v>
                </c:pt>
                <c:pt idx="198">
                  <c:v>1475.8849006857142</c:v>
                </c:pt>
                <c:pt idx="199">
                  <c:v>1288.0358567142855</c:v>
                </c:pt>
                <c:pt idx="200">
                  <c:v>1082.1467983571429</c:v>
                </c:pt>
                <c:pt idx="201">
                  <c:v>996.64595281428581</c:v>
                </c:pt>
                <c:pt idx="202">
                  <c:v>921.91698377142859</c:v>
                </c:pt>
                <c:pt idx="203">
                  <c:v>860.59075922857141</c:v>
                </c:pt>
                <c:pt idx="204">
                  <c:v>813.86885691428574</c:v>
                </c:pt>
                <c:pt idx="205">
                  <c:v>814.39640217142858</c:v>
                </c:pt>
                <c:pt idx="206">
                  <c:v>841.10860960000002</c:v>
                </c:pt>
                <c:pt idx="207">
                  <c:v>844.60016058571432</c:v>
                </c:pt>
                <c:pt idx="208">
                  <c:v>842.7033606857143</c:v>
                </c:pt>
                <c:pt idx="209">
                  <c:v>839.76755225714282</c:v>
                </c:pt>
                <c:pt idx="210">
                  <c:v>801.31694148571421</c:v>
                </c:pt>
                <c:pt idx="211">
                  <c:v>743.88676421428568</c:v>
                </c:pt>
                <c:pt idx="212">
                  <c:v>634.58129495714286</c:v>
                </c:pt>
                <c:pt idx="213">
                  <c:v>485.50029025714286</c:v>
                </c:pt>
                <c:pt idx="214">
                  <c:v>362.34911070000004</c:v>
                </c:pt>
                <c:pt idx="215">
                  <c:v>254.41754397142856</c:v>
                </c:pt>
                <c:pt idx="216">
                  <c:v>158.55596784285714</c:v>
                </c:pt>
                <c:pt idx="217">
                  <c:v>122.25415150000001</c:v>
                </c:pt>
                <c:pt idx="218">
                  <c:v>124.07549715714286</c:v>
                </c:pt>
                <c:pt idx="219">
                  <c:v>159.27682000000001</c:v>
                </c:pt>
                <c:pt idx="220">
                  <c:v>222.10298182857144</c:v>
                </c:pt>
                <c:pt idx="221">
                  <c:v>311.60418835714285</c:v>
                </c:pt>
                <c:pt idx="222">
                  <c:v>410.32544641428569</c:v>
                </c:pt>
                <c:pt idx="223">
                  <c:v>501.89798382857145</c:v>
                </c:pt>
                <c:pt idx="224">
                  <c:v>573.58164475714284</c:v>
                </c:pt>
                <c:pt idx="225">
                  <c:v>629.63020552857142</c:v>
                </c:pt>
                <c:pt idx="226">
                  <c:v>669.50306569999998</c:v>
                </c:pt>
                <c:pt idx="227">
                  <c:v>707.73128815714279</c:v>
                </c:pt>
                <c:pt idx="228">
                  <c:v>760.97831072857139</c:v>
                </c:pt>
                <c:pt idx="229">
                  <c:v>812.85618107142852</c:v>
                </c:pt>
                <c:pt idx="230">
                  <c:v>845.12339768571439</c:v>
                </c:pt>
                <c:pt idx="231">
                  <c:v>864.39674081428564</c:v>
                </c:pt>
                <c:pt idx="232">
                  <c:v>877.72947955714278</c:v>
                </c:pt>
                <c:pt idx="233">
                  <c:v>887.15957344285721</c:v>
                </c:pt>
                <c:pt idx="234">
                  <c:v>896.04580891428566</c:v>
                </c:pt>
                <c:pt idx="235">
                  <c:v>902.37306651428571</c:v>
                </c:pt>
                <c:pt idx="236">
                  <c:v>912.01687130000005</c:v>
                </c:pt>
                <c:pt idx="237">
                  <c:v>914.5556446285716</c:v>
                </c:pt>
                <c:pt idx="238">
                  <c:v>913.04403361428569</c:v>
                </c:pt>
                <c:pt idx="239">
                  <c:v>910.67762075714279</c:v>
                </c:pt>
                <c:pt idx="240">
                  <c:v>907.57602704285716</c:v>
                </c:pt>
                <c:pt idx="241">
                  <c:v>900.12858117142866</c:v>
                </c:pt>
                <c:pt idx="242">
                  <c:v>893.1954858571429</c:v>
                </c:pt>
                <c:pt idx="243">
                  <c:v>892.90171145714282</c:v>
                </c:pt>
                <c:pt idx="244">
                  <c:v>906.30213558571427</c:v>
                </c:pt>
                <c:pt idx="245">
                  <c:v>930.68485197142854</c:v>
                </c:pt>
                <c:pt idx="246">
                  <c:v>962.27762585714288</c:v>
                </c:pt>
                <c:pt idx="247">
                  <c:v>997.67820354285709</c:v>
                </c:pt>
                <c:pt idx="248">
                  <c:v>1043.3188086571429</c:v>
                </c:pt>
                <c:pt idx="249">
                  <c:v>1108.7720852857142</c:v>
                </c:pt>
                <c:pt idx="250">
                  <c:v>1165.9301367857145</c:v>
                </c:pt>
                <c:pt idx="251">
                  <c:v>1204.3055605428574</c:v>
                </c:pt>
                <c:pt idx="252">
                  <c:v>1230.5443498428572</c:v>
                </c:pt>
                <c:pt idx="253">
                  <c:v>1245.6325566571431</c:v>
                </c:pt>
                <c:pt idx="254">
                  <c:v>1260.5440023285717</c:v>
                </c:pt>
                <c:pt idx="255">
                  <c:v>1274.1752150714287</c:v>
                </c:pt>
                <c:pt idx="256">
                  <c:v>1280.9696507000001</c:v>
                </c:pt>
                <c:pt idx="257">
                  <c:v>1283.4148250285714</c:v>
                </c:pt>
                <c:pt idx="258">
                  <c:v>1287.7370319428574</c:v>
                </c:pt>
                <c:pt idx="259">
                  <c:v>1289.3662955714285</c:v>
                </c:pt>
                <c:pt idx="260">
                  <c:v>1293.1247975428571</c:v>
                </c:pt>
                <c:pt idx="261">
                  <c:v>1302.3013588428571</c:v>
                </c:pt>
                <c:pt idx="262">
                  <c:v>1314.9635909714286</c:v>
                </c:pt>
                <c:pt idx="263">
                  <c:v>1337.6769047428572</c:v>
                </c:pt>
                <c:pt idx="264">
                  <c:v>1352.8993007857146</c:v>
                </c:pt>
                <c:pt idx="265">
                  <c:v>1359.1529166142859</c:v>
                </c:pt>
                <c:pt idx="266">
                  <c:v>1360.3960568142854</c:v>
                </c:pt>
                <c:pt idx="267">
                  <c:v>1366.0364020285713</c:v>
                </c:pt>
                <c:pt idx="268">
                  <c:v>1372.6959429428571</c:v>
                </c:pt>
                <c:pt idx="269">
                  <c:v>1373.6264494571431</c:v>
                </c:pt>
                <c:pt idx="270">
                  <c:v>1363.7778436857141</c:v>
                </c:pt>
                <c:pt idx="271">
                  <c:v>1352.3933109000002</c:v>
                </c:pt>
                <c:pt idx="272">
                  <c:v>1346.6255297428572</c:v>
                </c:pt>
                <c:pt idx="273">
                  <c:v>1343.3255378142858</c:v>
                </c:pt>
                <c:pt idx="274">
                  <c:v>1330.0858102142859</c:v>
                </c:pt>
                <c:pt idx="275">
                  <c:v>1300.7719655857143</c:v>
                </c:pt>
                <c:pt idx="276">
                  <c:v>1261.2451022000002</c:v>
                </c:pt>
                <c:pt idx="277">
                  <c:v>1206.4689319285715</c:v>
                </c:pt>
                <c:pt idx="278">
                  <c:v>1147.4376386000001</c:v>
                </c:pt>
                <c:pt idx="279">
                  <c:v>1097.1253636142858</c:v>
                </c:pt>
                <c:pt idx="280">
                  <c:v>1049.3871533428571</c:v>
                </c:pt>
                <c:pt idx="281">
                  <c:v>1003.4900159142857</c:v>
                </c:pt>
                <c:pt idx="282">
                  <c:v>959.21663168571433</c:v>
                </c:pt>
                <c:pt idx="283">
                  <c:v>895.43739331428583</c:v>
                </c:pt>
                <c:pt idx="284">
                  <c:v>783.46865988571426</c:v>
                </c:pt>
                <c:pt idx="285">
                  <c:v>670.24735034285709</c:v>
                </c:pt>
                <c:pt idx="286">
                  <c:v>575.70402245714286</c:v>
                </c:pt>
                <c:pt idx="287">
                  <c:v>495.95181109999993</c:v>
                </c:pt>
                <c:pt idx="288">
                  <c:v>424.65403815714279</c:v>
                </c:pt>
                <c:pt idx="289">
                  <c:v>355.46258822857135</c:v>
                </c:pt>
                <c:pt idx="290">
                  <c:v>294.04852047142862</c:v>
                </c:pt>
                <c:pt idx="291">
                  <c:v>246.99092614285718</c:v>
                </c:pt>
                <c:pt idx="292">
                  <c:v>203.94938881428567</c:v>
                </c:pt>
                <c:pt idx="293">
                  <c:v>165.08475421428571</c:v>
                </c:pt>
                <c:pt idx="294">
                  <c:v>145.69619751428567</c:v>
                </c:pt>
                <c:pt idx="295">
                  <c:v>133.23765434285716</c:v>
                </c:pt>
                <c:pt idx="296">
                  <c:v>122.30888595714286</c:v>
                </c:pt>
                <c:pt idx="297">
                  <c:v>112.22036791428572</c:v>
                </c:pt>
                <c:pt idx="298">
                  <c:v>102.94423237142857</c:v>
                </c:pt>
                <c:pt idx="299">
                  <c:v>101.11359705714287</c:v>
                </c:pt>
                <c:pt idx="300">
                  <c:v>103.34004707142857</c:v>
                </c:pt>
                <c:pt idx="301">
                  <c:v>94.701423471428583</c:v>
                </c:pt>
                <c:pt idx="302">
                  <c:v>84.878949971428582</c:v>
                </c:pt>
                <c:pt idx="303">
                  <c:v>77.757984571428565</c:v>
                </c:pt>
                <c:pt idx="304">
                  <c:v>72.257924028571423</c:v>
                </c:pt>
                <c:pt idx="305">
                  <c:v>68.281323214285706</c:v>
                </c:pt>
                <c:pt idx="306">
                  <c:v>65.344445942857149</c:v>
                </c:pt>
                <c:pt idx="307">
                  <c:v>68.318270999999996</c:v>
                </c:pt>
                <c:pt idx="308">
                  <c:v>68.353163571428567</c:v>
                </c:pt>
                <c:pt idx="309">
                  <c:v>82.44664047142858</c:v>
                </c:pt>
                <c:pt idx="310">
                  <c:v>91.985229814285717</c:v>
                </c:pt>
                <c:pt idx="311">
                  <c:v>97.650392171428578</c:v>
                </c:pt>
                <c:pt idx="312">
                  <c:v>101.12681124285713</c:v>
                </c:pt>
                <c:pt idx="313">
                  <c:v>103.18366705714286</c:v>
                </c:pt>
                <c:pt idx="314">
                  <c:v>99.063255871428552</c:v>
                </c:pt>
                <c:pt idx="315">
                  <c:v>94.213368242857157</c:v>
                </c:pt>
                <c:pt idx="316">
                  <c:v>73.722424157142868</c:v>
                </c:pt>
                <c:pt idx="317">
                  <c:v>56.943201671428561</c:v>
                </c:pt>
                <c:pt idx="318">
                  <c:v>43.918114842857143</c:v>
                </c:pt>
                <c:pt idx="319">
                  <c:v>32.855553199999996</c:v>
                </c:pt>
                <c:pt idx="320">
                  <c:v>23.038163114285716</c:v>
                </c:pt>
                <c:pt idx="321">
                  <c:v>14.219171357142857</c:v>
                </c:pt>
                <c:pt idx="322">
                  <c:v>8.5315028142857141</c:v>
                </c:pt>
                <c:pt idx="323">
                  <c:v>5.1189016999999994</c:v>
                </c:pt>
                <c:pt idx="324">
                  <c:v>3.0713410142857143</c:v>
                </c:pt>
                <c:pt idx="325">
                  <c:v>1.8428046142857144</c:v>
                </c:pt>
                <c:pt idx="326">
                  <c:v>1.1056827714285713</c:v>
                </c:pt>
                <c:pt idx="327">
                  <c:v>0.66340967142857143</c:v>
                </c:pt>
                <c:pt idx="328">
                  <c:v>0.39804579999999995</c:v>
                </c:pt>
                <c:pt idx="329">
                  <c:v>0.34514477142857142</c:v>
                </c:pt>
                <c:pt idx="330">
                  <c:v>2.2464455285714284</c:v>
                </c:pt>
                <c:pt idx="331">
                  <c:v>12.056916657142859</c:v>
                </c:pt>
                <c:pt idx="332">
                  <c:v>22.795133242857144</c:v>
                </c:pt>
                <c:pt idx="333">
                  <c:v>35.452791285714284</c:v>
                </c:pt>
                <c:pt idx="334">
                  <c:v>46.120921914285709</c:v>
                </c:pt>
                <c:pt idx="335">
                  <c:v>56.552191614285711</c:v>
                </c:pt>
                <c:pt idx="336">
                  <c:v>66.329088771428573</c:v>
                </c:pt>
                <c:pt idx="337">
                  <c:v>72.61083097142857</c:v>
                </c:pt>
                <c:pt idx="338">
                  <c:v>69.942848442857155</c:v>
                </c:pt>
                <c:pt idx="339">
                  <c:v>65.790444271428569</c:v>
                </c:pt>
                <c:pt idx="340">
                  <c:v>61.510938471428574</c:v>
                </c:pt>
                <c:pt idx="341">
                  <c:v>58.614617971428572</c:v>
                </c:pt>
                <c:pt idx="342">
                  <c:v>55.755661657142859</c:v>
                </c:pt>
                <c:pt idx="343">
                  <c:v>52.493854742857138</c:v>
                </c:pt>
                <c:pt idx="344">
                  <c:v>48.188125314285706</c:v>
                </c:pt>
                <c:pt idx="345">
                  <c:v>43.372024828571433</c:v>
                </c:pt>
                <c:pt idx="346">
                  <c:v>38.182045285714288</c:v>
                </c:pt>
                <c:pt idx="347">
                  <c:v>30.641392757142857</c:v>
                </c:pt>
                <c:pt idx="348">
                  <c:v>23.372082457142856</c:v>
                </c:pt>
                <c:pt idx="349">
                  <c:v>16.101268971428571</c:v>
                </c:pt>
                <c:pt idx="350">
                  <c:v>9.6607613857142844</c:v>
                </c:pt>
                <c:pt idx="351">
                  <c:v>5.7964568285714284</c:v>
                </c:pt>
                <c:pt idx="352">
                  <c:v>3.4778741000000002</c:v>
                </c:pt>
                <c:pt idx="353">
                  <c:v>2.0867244571428567</c:v>
                </c:pt>
                <c:pt idx="354">
                  <c:v>1.2520346857142854</c:v>
                </c:pt>
                <c:pt idx="355">
                  <c:v>0.75122081428571441</c:v>
                </c:pt>
                <c:pt idx="356">
                  <c:v>0.45073248571428565</c:v>
                </c:pt>
                <c:pt idx="357">
                  <c:v>7.6256620000000002</c:v>
                </c:pt>
                <c:pt idx="358">
                  <c:v>18.203339042857145</c:v>
                </c:pt>
                <c:pt idx="359">
                  <c:v>30.841995014285715</c:v>
                </c:pt>
                <c:pt idx="360">
                  <c:v>46.167019400000001</c:v>
                </c:pt>
                <c:pt idx="361">
                  <c:v>64.911258514285706</c:v>
                </c:pt>
                <c:pt idx="362">
                  <c:v>83.870637171428569</c:v>
                </c:pt>
                <c:pt idx="363">
                  <c:v>102.09889611428571</c:v>
                </c:pt>
                <c:pt idx="364">
                  <c:v>112.97786024285713</c:v>
                </c:pt>
                <c:pt idx="365">
                  <c:v>120.73272</c:v>
                </c:pt>
                <c:pt idx="366">
                  <c:v>126.1491872142857</c:v>
                </c:pt>
                <c:pt idx="367">
                  <c:v>130.70387047142856</c:v>
                </c:pt>
                <c:pt idx="368">
                  <c:v>136.07528194285712</c:v>
                </c:pt>
                <c:pt idx="369">
                  <c:v>141.3761483142857</c:v>
                </c:pt>
                <c:pt idx="370">
                  <c:v>145.46267881428571</c:v>
                </c:pt>
                <c:pt idx="371">
                  <c:v>151.9815993857143</c:v>
                </c:pt>
                <c:pt idx="372">
                  <c:v>160.5343602142857</c:v>
                </c:pt>
                <c:pt idx="373">
                  <c:v>171.41640520000001</c:v>
                </c:pt>
                <c:pt idx="374">
                  <c:v>184.2741758857143</c:v>
                </c:pt>
                <c:pt idx="375">
                  <c:v>199.52617732857144</c:v>
                </c:pt>
                <c:pt idx="376">
                  <c:v>213.90689995714288</c:v>
                </c:pt>
                <c:pt idx="377">
                  <c:v>226.89246775714284</c:v>
                </c:pt>
                <c:pt idx="378">
                  <c:v>236.61725994285715</c:v>
                </c:pt>
                <c:pt idx="379">
                  <c:v>244.74021199999999</c:v>
                </c:pt>
                <c:pt idx="380">
                  <c:v>253.99730120000001</c:v>
                </c:pt>
                <c:pt idx="381">
                  <c:v>263.92022839999998</c:v>
                </c:pt>
                <c:pt idx="382">
                  <c:v>272.65117950000001</c:v>
                </c:pt>
                <c:pt idx="383">
                  <c:v>282.05609884285712</c:v>
                </c:pt>
                <c:pt idx="384">
                  <c:v>288.9790167571428</c:v>
                </c:pt>
                <c:pt idx="385">
                  <c:v>295.14365709999998</c:v>
                </c:pt>
                <c:pt idx="386">
                  <c:v>295.59475155714284</c:v>
                </c:pt>
                <c:pt idx="387">
                  <c:v>290.24824422857142</c:v>
                </c:pt>
                <c:pt idx="388">
                  <c:v>282.15637772857144</c:v>
                </c:pt>
                <c:pt idx="389">
                  <c:v>275.97309409999997</c:v>
                </c:pt>
                <c:pt idx="390">
                  <c:v>269.75505145714288</c:v>
                </c:pt>
                <c:pt idx="391">
                  <c:v>264.22477780000003</c:v>
                </c:pt>
                <c:pt idx="392">
                  <c:v>259.15458318571427</c:v>
                </c:pt>
                <c:pt idx="393">
                  <c:v>259.57883008571429</c:v>
                </c:pt>
                <c:pt idx="394">
                  <c:v>263.13822004285714</c:v>
                </c:pt>
                <c:pt idx="395">
                  <c:v>269.94912101428565</c:v>
                </c:pt>
                <c:pt idx="396">
                  <c:v>278.44923892857139</c:v>
                </c:pt>
                <c:pt idx="397">
                  <c:v>286.96697105714281</c:v>
                </c:pt>
                <c:pt idx="398">
                  <c:v>294.50103714285711</c:v>
                </c:pt>
                <c:pt idx="399">
                  <c:v>300.27536682857141</c:v>
                </c:pt>
                <c:pt idx="400">
                  <c:v>304.88866608571425</c:v>
                </c:pt>
                <c:pt idx="401">
                  <c:v>309.46499161428568</c:v>
                </c:pt>
                <c:pt idx="402">
                  <c:v>316.56665355714284</c:v>
                </c:pt>
                <c:pt idx="403">
                  <c:v>352.47788044285716</c:v>
                </c:pt>
                <c:pt idx="404">
                  <c:v>395.96381295714292</c:v>
                </c:pt>
                <c:pt idx="405">
                  <c:v>445.54749261428566</c:v>
                </c:pt>
                <c:pt idx="406">
                  <c:v>492.46193989999995</c:v>
                </c:pt>
                <c:pt idx="407">
                  <c:v>540.05119487142861</c:v>
                </c:pt>
                <c:pt idx="408">
                  <c:v>588.44247834285727</c:v>
                </c:pt>
                <c:pt idx="409">
                  <c:v>642.01172705714282</c:v>
                </c:pt>
                <c:pt idx="410">
                  <c:v>687.05685549999998</c:v>
                </c:pt>
                <c:pt idx="411">
                  <c:v>722.04361169999993</c:v>
                </c:pt>
                <c:pt idx="412">
                  <c:v>744.07388444285709</c:v>
                </c:pt>
                <c:pt idx="413">
                  <c:v>764.33710569999982</c:v>
                </c:pt>
                <c:pt idx="414">
                  <c:v>781.80973102857138</c:v>
                </c:pt>
                <c:pt idx="415">
                  <c:v>802.18110637142854</c:v>
                </c:pt>
                <c:pt idx="416">
                  <c:v>852.59555968571419</c:v>
                </c:pt>
                <c:pt idx="417">
                  <c:v>899.22090068571435</c:v>
                </c:pt>
                <c:pt idx="418">
                  <c:v>937.14570418571418</c:v>
                </c:pt>
                <c:pt idx="419">
                  <c:v>964.22649885714304</c:v>
                </c:pt>
                <c:pt idx="420">
                  <c:v>985.01100397142852</c:v>
                </c:pt>
                <c:pt idx="421">
                  <c:v>1006.9987146857144</c:v>
                </c:pt>
                <c:pt idx="422">
                  <c:v>1022.0329439000001</c:v>
                </c:pt>
                <c:pt idx="423">
                  <c:v>1010.9565276142857</c:v>
                </c:pt>
                <c:pt idx="424">
                  <c:v>1005.0399030999999</c:v>
                </c:pt>
                <c:pt idx="425">
                  <c:v>1007.2372122285714</c:v>
                </c:pt>
                <c:pt idx="426">
                  <c:v>1015.0568262999999</c:v>
                </c:pt>
                <c:pt idx="427">
                  <c:v>1027.8689506285714</c:v>
                </c:pt>
                <c:pt idx="428">
                  <c:v>1038.4360470285715</c:v>
                </c:pt>
                <c:pt idx="429">
                  <c:v>1047.9033216714286</c:v>
                </c:pt>
                <c:pt idx="430">
                  <c:v>1052.2859126857143</c:v>
                </c:pt>
                <c:pt idx="431">
                  <c:v>1055.3480585571428</c:v>
                </c:pt>
                <c:pt idx="432">
                  <c:v>1056.1842063142858</c:v>
                </c:pt>
                <c:pt idx="433">
                  <c:v>1055.8577917</c:v>
                </c:pt>
                <c:pt idx="434">
                  <c:v>1050.4955673428572</c:v>
                </c:pt>
                <c:pt idx="435">
                  <c:v>1052.1479743142859</c:v>
                </c:pt>
                <c:pt idx="436">
                  <c:v>1053.992241257143</c:v>
                </c:pt>
                <c:pt idx="437">
                  <c:v>1059.0044824857143</c:v>
                </c:pt>
                <c:pt idx="438">
                  <c:v>1065.5714352714283</c:v>
                </c:pt>
                <c:pt idx="439">
                  <c:v>1078.0274748142856</c:v>
                </c:pt>
                <c:pt idx="440">
                  <c:v>1093.5225764428574</c:v>
                </c:pt>
                <c:pt idx="441">
                  <c:v>1112.8928338285716</c:v>
                </c:pt>
                <c:pt idx="442">
                  <c:v>1124.7621832571429</c:v>
                </c:pt>
                <c:pt idx="443">
                  <c:v>1144.651414857143</c:v>
                </c:pt>
                <c:pt idx="444">
                  <c:v>1175.8908836285716</c:v>
                </c:pt>
                <c:pt idx="445">
                  <c:v>1212.9146354142856</c:v>
                </c:pt>
                <c:pt idx="446">
                  <c:v>1261.3068374142858</c:v>
                </c:pt>
                <c:pt idx="447">
                  <c:v>1305.9154438428573</c:v>
                </c:pt>
                <c:pt idx="448">
                  <c:v>1330.2704564285716</c:v>
                </c:pt>
                <c:pt idx="449">
                  <c:v>1344.9081834714289</c:v>
                </c:pt>
                <c:pt idx="450">
                  <c:v>1347.3873471000002</c:v>
                </c:pt>
                <c:pt idx="451">
                  <c:v>1339.6791911285713</c:v>
                </c:pt>
                <c:pt idx="452">
                  <c:v>1334.0655175571428</c:v>
                </c:pt>
                <c:pt idx="453">
                  <c:v>1307.9182937999999</c:v>
                </c:pt>
                <c:pt idx="454">
                  <c:v>1271.3419817142858</c:v>
                </c:pt>
                <c:pt idx="455">
                  <c:v>1250.9906022285716</c:v>
                </c:pt>
                <c:pt idx="456">
                  <c:v>1235.6898370000001</c:v>
                </c:pt>
                <c:pt idx="457">
                  <c:v>1227.1768043714287</c:v>
                </c:pt>
                <c:pt idx="458">
                  <c:v>1230.4736149285714</c:v>
                </c:pt>
                <c:pt idx="459">
                  <c:v>1248.9148885142856</c:v>
                </c:pt>
                <c:pt idx="460">
                  <c:v>1272.5000796142856</c:v>
                </c:pt>
                <c:pt idx="461">
                  <c:v>1235.3953102142859</c:v>
                </c:pt>
                <c:pt idx="462">
                  <c:v>1157.3652557</c:v>
                </c:pt>
                <c:pt idx="463">
                  <c:v>1055.5463346142858</c:v>
                </c:pt>
                <c:pt idx="464">
                  <c:v>935.09110178571439</c:v>
                </c:pt>
                <c:pt idx="465">
                  <c:v>775.17497344285732</c:v>
                </c:pt>
                <c:pt idx="466">
                  <c:v>554.23114271428562</c:v>
                </c:pt>
                <c:pt idx="467">
                  <c:v>332.53868562857144</c:v>
                </c:pt>
                <c:pt idx="468">
                  <c:v>480.21313831428569</c:v>
                </c:pt>
                <c:pt idx="469">
                  <c:v>625.27714881428562</c:v>
                </c:pt>
                <c:pt idx="470">
                  <c:v>775.80759187142849</c:v>
                </c:pt>
                <c:pt idx="471">
                  <c:v>936.06968405714281</c:v>
                </c:pt>
                <c:pt idx="472">
                  <c:v>1130.2026791714284</c:v>
                </c:pt>
                <c:pt idx="473">
                  <c:v>1380.3778941</c:v>
                </c:pt>
                <c:pt idx="474">
                  <c:v>1619.6215414571429</c:v>
                </c:pt>
                <c:pt idx="475">
                  <c:v>1547.7743632142854</c:v>
                </c:pt>
                <c:pt idx="476">
                  <c:v>1512.044827142857</c:v>
                </c:pt>
                <c:pt idx="477">
                  <c:v>1499.3948878857143</c:v>
                </c:pt>
                <c:pt idx="478">
                  <c:v>1492.6330275857144</c:v>
                </c:pt>
                <c:pt idx="479">
                  <c:v>1513.9381188142859</c:v>
                </c:pt>
                <c:pt idx="480">
                  <c:v>1537.8202292285714</c:v>
                </c:pt>
                <c:pt idx="481">
                  <c:v>1572.011614042857</c:v>
                </c:pt>
                <c:pt idx="482">
                  <c:v>1590.1039339000001</c:v>
                </c:pt>
                <c:pt idx="483">
                  <c:v>1598.9570462714287</c:v>
                </c:pt>
                <c:pt idx="484">
                  <c:v>1597.5699290857144</c:v>
                </c:pt>
                <c:pt idx="485">
                  <c:v>1591.9297159571429</c:v>
                </c:pt>
                <c:pt idx="486">
                  <c:v>1561.1193023857143</c:v>
                </c:pt>
                <c:pt idx="487">
                  <c:v>1530.4216210571431</c:v>
                </c:pt>
                <c:pt idx="488">
                  <c:v>1494.7117217285718</c:v>
                </c:pt>
                <c:pt idx="489">
                  <c:v>1473.4464588857143</c:v>
                </c:pt>
                <c:pt idx="490">
                  <c:v>1466.3480667714286</c:v>
                </c:pt>
                <c:pt idx="491">
                  <c:v>1461.7058792571427</c:v>
                </c:pt>
                <c:pt idx="492">
                  <c:v>1461.6397117857143</c:v>
                </c:pt>
                <c:pt idx="493">
                  <c:v>1463.3903591428571</c:v>
                </c:pt>
                <c:pt idx="494">
                  <c:v>1411.2866744428572</c:v>
                </c:pt>
                <c:pt idx="495">
                  <c:v>1345.5230697142856</c:v>
                </c:pt>
                <c:pt idx="496">
                  <c:v>1281.1033072571429</c:v>
                </c:pt>
                <c:pt idx="497">
                  <c:v>1213.1197119428573</c:v>
                </c:pt>
                <c:pt idx="498">
                  <c:v>1121.3369742285715</c:v>
                </c:pt>
                <c:pt idx="499">
                  <c:v>997.58419977142864</c:v>
                </c:pt>
                <c:pt idx="500">
                  <c:v>825.63052574285734</c:v>
                </c:pt>
                <c:pt idx="501">
                  <c:v>643.02935410000009</c:v>
                </c:pt>
                <c:pt idx="502">
                  <c:v>476.26069858571429</c:v>
                </c:pt>
                <c:pt idx="503">
                  <c:v>338.12637890000002</c:v>
                </c:pt>
                <c:pt idx="504">
                  <c:v>217.08092911428574</c:v>
                </c:pt>
                <c:pt idx="505">
                  <c:v>130.24855748571429</c:v>
                </c:pt>
                <c:pt idx="506">
                  <c:v>78.149134499999988</c:v>
                </c:pt>
                <c:pt idx="507">
                  <c:v>46.88948071428571</c:v>
                </c:pt>
                <c:pt idx="508">
                  <c:v>28.133688442857139</c:v>
                </c:pt>
                <c:pt idx="509">
                  <c:v>16.880213071428575</c:v>
                </c:pt>
                <c:pt idx="510">
                  <c:v>10.128127842857143</c:v>
                </c:pt>
                <c:pt idx="511">
                  <c:v>6.0768767142857145</c:v>
                </c:pt>
                <c:pt idx="512">
                  <c:v>3.6461260285714281</c:v>
                </c:pt>
                <c:pt idx="513">
                  <c:v>2.1876756285714287</c:v>
                </c:pt>
                <c:pt idx="514">
                  <c:v>1.3126053857142854</c:v>
                </c:pt>
                <c:pt idx="515">
                  <c:v>0.78756322857142869</c:v>
                </c:pt>
                <c:pt idx="516">
                  <c:v>0.4725379428571429</c:v>
                </c:pt>
                <c:pt idx="517">
                  <c:v>0.28352277142857141</c:v>
                </c:pt>
                <c:pt idx="518">
                  <c:v>0.17011367142857142</c:v>
                </c:pt>
                <c:pt idx="519">
                  <c:v>0.10206819999999998</c:v>
                </c:pt>
                <c:pt idx="520">
                  <c:v>6.1240914285714279E-2</c:v>
                </c:pt>
                <c:pt idx="521">
                  <c:v>3.6744542857142862E-2</c:v>
                </c:pt>
                <c:pt idx="522">
                  <c:v>2.2046728571428576E-2</c:v>
                </c:pt>
                <c:pt idx="523">
                  <c:v>1.3228028571428569E-2</c:v>
                </c:pt>
                <c:pt idx="524">
                  <c:v>7.9368142857142859E-3</c:v>
                </c:pt>
                <c:pt idx="525">
                  <c:v>4.7620714285714289E-3</c:v>
                </c:pt>
                <c:pt idx="526">
                  <c:v>2.857242857142857E-3</c:v>
                </c:pt>
                <c:pt idx="527">
                  <c:v>1.7143428571428571E-3</c:v>
                </c:pt>
                <c:pt idx="528">
                  <c:v>1.0286E-3</c:v>
                </c:pt>
                <c:pt idx="529">
                  <c:v>6.171571428571429E-4</c:v>
                </c:pt>
                <c:pt idx="530">
                  <c:v>3.7030000000000006E-4</c:v>
                </c:pt>
                <c:pt idx="531">
                  <c:v>2.2217142857142857E-4</c:v>
                </c:pt>
                <c:pt idx="532">
                  <c:v>1.3329999999999999E-4</c:v>
                </c:pt>
                <c:pt idx="533">
                  <c:v>7.9971428571428546E-5</c:v>
                </c:pt>
                <c:pt idx="534">
                  <c:v>4.7985714285714291E-5</c:v>
                </c:pt>
                <c:pt idx="535">
                  <c:v>2.8799999999999995E-5</c:v>
                </c:pt>
                <c:pt idx="536">
                  <c:v>1.7271428571428571E-5</c:v>
                </c:pt>
                <c:pt idx="537">
                  <c:v>1.0357142857142856E-5</c:v>
                </c:pt>
                <c:pt idx="538">
                  <c:v>6.214285714285714E-6</c:v>
                </c:pt>
                <c:pt idx="539">
                  <c:v>11.175637228571428</c:v>
                </c:pt>
                <c:pt idx="540">
                  <c:v>31.512017057142856</c:v>
                </c:pt>
                <c:pt idx="541">
                  <c:v>60.540487685714275</c:v>
                </c:pt>
                <c:pt idx="542">
                  <c:v>98.195956385714297</c:v>
                </c:pt>
                <c:pt idx="543">
                  <c:v>146.98257111428572</c:v>
                </c:pt>
                <c:pt idx="544">
                  <c:v>196.89333155714286</c:v>
                </c:pt>
                <c:pt idx="545">
                  <c:v>243.74264554285713</c:v>
                </c:pt>
                <c:pt idx="546">
                  <c:v>287.27525004285712</c:v>
                </c:pt>
                <c:pt idx="547">
                  <c:v>321.04659731428575</c:v>
                </c:pt>
                <c:pt idx="548">
                  <c:v>348.2978329428571</c:v>
                </c:pt>
                <c:pt idx="549">
                  <c:v>379.43689809999995</c:v>
                </c:pt>
                <c:pt idx="550">
                  <c:v>411.37071338571428</c:v>
                </c:pt>
                <c:pt idx="551">
                  <c:v>440.63723437142852</c:v>
                </c:pt>
                <c:pt idx="552">
                  <c:v>463.46627407142853</c:v>
                </c:pt>
                <c:pt idx="553">
                  <c:v>474.21580977142861</c:v>
                </c:pt>
                <c:pt idx="554">
                  <c:v>482.96585044285712</c:v>
                </c:pt>
                <c:pt idx="555">
                  <c:v>484.7943915714286</c:v>
                </c:pt>
                <c:pt idx="556">
                  <c:v>476.74823045714282</c:v>
                </c:pt>
                <c:pt idx="557">
                  <c:v>459.91634672857134</c:v>
                </c:pt>
                <c:pt idx="558">
                  <c:v>440.83823918571431</c:v>
                </c:pt>
                <c:pt idx="559">
                  <c:v>425.92156534285721</c:v>
                </c:pt>
                <c:pt idx="560">
                  <c:v>411.9746490428571</c:v>
                </c:pt>
                <c:pt idx="561">
                  <c:v>400.45564178571425</c:v>
                </c:pt>
                <c:pt idx="562">
                  <c:v>400.03925652857146</c:v>
                </c:pt>
                <c:pt idx="563">
                  <c:v>412.97276769999996</c:v>
                </c:pt>
                <c:pt idx="564">
                  <c:v>416.10324024285711</c:v>
                </c:pt>
                <c:pt idx="565">
                  <c:v>414.34740595714283</c:v>
                </c:pt>
                <c:pt idx="566">
                  <c:v>410.99358614285711</c:v>
                </c:pt>
                <c:pt idx="567">
                  <c:v>407.46385672857139</c:v>
                </c:pt>
                <c:pt idx="568">
                  <c:v>401.46060587142858</c:v>
                </c:pt>
                <c:pt idx="569">
                  <c:v>397.8779857714286</c:v>
                </c:pt>
                <c:pt idx="570">
                  <c:v>384.97103832857147</c:v>
                </c:pt>
                <c:pt idx="571">
                  <c:v>371.0314722</c:v>
                </c:pt>
                <c:pt idx="572">
                  <c:v>361.4112556</c:v>
                </c:pt>
                <c:pt idx="573">
                  <c:v>353.2614847142857</c:v>
                </c:pt>
                <c:pt idx="574">
                  <c:v>344.61185667142854</c:v>
                </c:pt>
                <c:pt idx="575">
                  <c:v>335.23704522857145</c:v>
                </c:pt>
                <c:pt idx="576">
                  <c:v>315.80057758571428</c:v>
                </c:pt>
                <c:pt idx="577">
                  <c:v>293.71960387142855</c:v>
                </c:pt>
                <c:pt idx="578">
                  <c:v>279.39818165714286</c:v>
                </c:pt>
                <c:pt idx="579">
                  <c:v>267.90576624285711</c:v>
                </c:pt>
                <c:pt idx="580">
                  <c:v>258.90330187142854</c:v>
                </c:pt>
                <c:pt idx="581">
                  <c:v>251.02753027142859</c:v>
                </c:pt>
                <c:pt idx="582">
                  <c:v>246.25374127142859</c:v>
                </c:pt>
                <c:pt idx="583">
                  <c:v>243.0028595857143</c:v>
                </c:pt>
                <c:pt idx="584">
                  <c:v>236.57733974285716</c:v>
                </c:pt>
                <c:pt idx="585">
                  <c:v>231.73617672857145</c:v>
                </c:pt>
                <c:pt idx="586">
                  <c:v>227.38169787142857</c:v>
                </c:pt>
                <c:pt idx="587">
                  <c:v>223.30956431428575</c:v>
                </c:pt>
                <c:pt idx="588">
                  <c:v>209.96393068571427</c:v>
                </c:pt>
                <c:pt idx="589">
                  <c:v>189.64307681428571</c:v>
                </c:pt>
                <c:pt idx="590">
                  <c:v>164.74081731428575</c:v>
                </c:pt>
                <c:pt idx="591">
                  <c:v>136.38415431428572</c:v>
                </c:pt>
                <c:pt idx="592">
                  <c:v>104.8143548</c:v>
                </c:pt>
                <c:pt idx="593">
                  <c:v>73.346366842857137</c:v>
                </c:pt>
                <c:pt idx="594">
                  <c:v>44.007820100000004</c:v>
                </c:pt>
                <c:pt idx="595">
                  <c:v>26.404692057142856</c:v>
                </c:pt>
                <c:pt idx="596">
                  <c:v>15.842815228571428</c:v>
                </c:pt>
                <c:pt idx="597">
                  <c:v>9.5056891285714293</c:v>
                </c:pt>
                <c:pt idx="598">
                  <c:v>5.7034134714285702</c:v>
                </c:pt>
                <c:pt idx="599">
                  <c:v>3.4220480714285708</c:v>
                </c:pt>
                <c:pt idx="600">
                  <c:v>2.0532288285714286</c:v>
                </c:pt>
                <c:pt idx="601">
                  <c:v>5.9872191142857139</c:v>
                </c:pt>
                <c:pt idx="602">
                  <c:v>20.477448057142858</c:v>
                </c:pt>
                <c:pt idx="603">
                  <c:v>42.335597342857149</c:v>
                </c:pt>
                <c:pt idx="604">
                  <c:v>69.059098342857141</c:v>
                </c:pt>
                <c:pt idx="605">
                  <c:v>101.39840312857143</c:v>
                </c:pt>
                <c:pt idx="606">
                  <c:v>140.90561652857144</c:v>
                </c:pt>
                <c:pt idx="607">
                  <c:v>182.84819015714285</c:v>
                </c:pt>
                <c:pt idx="608">
                  <c:v>228.74560331428575</c:v>
                </c:pt>
                <c:pt idx="609">
                  <c:v>260.80736807142858</c:v>
                </c:pt>
                <c:pt idx="610">
                  <c:v>282.24809411428572</c:v>
                </c:pt>
                <c:pt idx="611">
                  <c:v>296.17570251428572</c:v>
                </c:pt>
                <c:pt idx="612">
                  <c:v>306.11736150000007</c:v>
                </c:pt>
                <c:pt idx="613">
                  <c:v>312.52695641428579</c:v>
                </c:pt>
                <c:pt idx="614">
                  <c:v>316.6143435285714</c:v>
                </c:pt>
                <c:pt idx="615">
                  <c:v>309.60453815714288</c:v>
                </c:pt>
                <c:pt idx="616">
                  <c:v>304.51912111428567</c:v>
                </c:pt>
                <c:pt idx="617">
                  <c:v>301.46787088571426</c:v>
                </c:pt>
                <c:pt idx="618">
                  <c:v>301.84078794285716</c:v>
                </c:pt>
                <c:pt idx="619">
                  <c:v>301.8808992428572</c:v>
                </c:pt>
                <c:pt idx="620">
                  <c:v>302.40755678571435</c:v>
                </c:pt>
                <c:pt idx="621">
                  <c:v>301.56372647142859</c:v>
                </c:pt>
                <c:pt idx="622">
                  <c:v>300.27454652857142</c:v>
                </c:pt>
                <c:pt idx="623">
                  <c:v>283.72742075714285</c:v>
                </c:pt>
                <c:pt idx="624">
                  <c:v>258.43146618571433</c:v>
                </c:pt>
                <c:pt idx="625">
                  <c:v>226.37844204285716</c:v>
                </c:pt>
                <c:pt idx="626">
                  <c:v>189.43996837142859</c:v>
                </c:pt>
                <c:pt idx="627">
                  <c:v>146.22606335714286</c:v>
                </c:pt>
                <c:pt idx="628">
                  <c:v>102.97766942857143</c:v>
                </c:pt>
                <c:pt idx="629">
                  <c:v>61.78660165714286</c:v>
                </c:pt>
                <c:pt idx="630">
                  <c:v>39.401275871428574</c:v>
                </c:pt>
                <c:pt idx="631">
                  <c:v>46.614962528571432</c:v>
                </c:pt>
                <c:pt idx="632">
                  <c:v>66.533153385714286</c:v>
                </c:pt>
                <c:pt idx="633">
                  <c:v>96.432357257142854</c:v>
                </c:pt>
                <c:pt idx="634">
                  <c:v>133.35434609999999</c:v>
                </c:pt>
                <c:pt idx="635">
                  <c:v>170.54660148571429</c:v>
                </c:pt>
                <c:pt idx="636">
                  <c:v>203.67732132857145</c:v>
                </c:pt>
                <c:pt idx="637">
                  <c:v>232.4864044857143</c:v>
                </c:pt>
                <c:pt idx="638">
                  <c:v>240.78321188571431</c:v>
                </c:pt>
                <c:pt idx="639">
                  <c:v>241.38295755714287</c:v>
                </c:pt>
                <c:pt idx="640">
                  <c:v>237.28714454285713</c:v>
                </c:pt>
                <c:pt idx="641">
                  <c:v>232.22005084285712</c:v>
                </c:pt>
                <c:pt idx="642">
                  <c:v>227.99097415714286</c:v>
                </c:pt>
                <c:pt idx="643">
                  <c:v>224.92194175714286</c:v>
                </c:pt>
                <c:pt idx="644">
                  <c:v>235.91351512857142</c:v>
                </c:pt>
                <c:pt idx="645">
                  <c:v>249.26749325714286</c:v>
                </c:pt>
                <c:pt idx="646">
                  <c:v>260.30674571428574</c:v>
                </c:pt>
                <c:pt idx="647">
                  <c:v>271.97858967142855</c:v>
                </c:pt>
                <c:pt idx="648">
                  <c:v>284.78841284285716</c:v>
                </c:pt>
                <c:pt idx="649">
                  <c:v>297.00903812857143</c:v>
                </c:pt>
                <c:pt idx="650">
                  <c:v>335.22405997142857</c:v>
                </c:pt>
                <c:pt idx="651">
                  <c:v>350.71664968571434</c:v>
                </c:pt>
                <c:pt idx="652">
                  <c:v>352.88541960000009</c:v>
                </c:pt>
                <c:pt idx="653">
                  <c:v>351.99019897142853</c:v>
                </c:pt>
                <c:pt idx="654">
                  <c:v>348.22258330000005</c:v>
                </c:pt>
                <c:pt idx="655">
                  <c:v>342.28303907142862</c:v>
                </c:pt>
                <c:pt idx="656">
                  <c:v>335.61947427142849</c:v>
                </c:pt>
                <c:pt idx="657">
                  <c:v>303.16993355714288</c:v>
                </c:pt>
                <c:pt idx="658">
                  <c:v>308.16912928571429</c:v>
                </c:pt>
                <c:pt idx="659">
                  <c:v>331.18576231428568</c:v>
                </c:pt>
                <c:pt idx="660">
                  <c:v>365.00354539999995</c:v>
                </c:pt>
                <c:pt idx="661">
                  <c:v>403.1644326857143</c:v>
                </c:pt>
                <c:pt idx="662">
                  <c:v>439.79382775714288</c:v>
                </c:pt>
                <c:pt idx="663">
                  <c:v>478.32352188571429</c:v>
                </c:pt>
                <c:pt idx="664">
                  <c:v>518.55314204285719</c:v>
                </c:pt>
                <c:pt idx="665">
                  <c:v>520.42227725714292</c:v>
                </c:pt>
                <c:pt idx="666">
                  <c:v>510.71872657142859</c:v>
                </c:pt>
                <c:pt idx="667">
                  <c:v>492.15785334285721</c:v>
                </c:pt>
                <c:pt idx="668">
                  <c:v>471.83938277142863</c:v>
                </c:pt>
                <c:pt idx="669">
                  <c:v>456.4491169142857</c:v>
                </c:pt>
                <c:pt idx="670">
                  <c:v>439.39580494285713</c:v>
                </c:pt>
                <c:pt idx="671">
                  <c:v>424.00259724285712</c:v>
                </c:pt>
                <c:pt idx="672">
                  <c:v>420.18885374285713</c:v>
                </c:pt>
                <c:pt idx="673">
                  <c:v>421.67003835714286</c:v>
                </c:pt>
                <c:pt idx="674">
                  <c:v>436.32200388571431</c:v>
                </c:pt>
                <c:pt idx="675">
                  <c:v>463.80569351428574</c:v>
                </c:pt>
                <c:pt idx="676">
                  <c:v>497.10370222857142</c:v>
                </c:pt>
                <c:pt idx="677">
                  <c:v>523.57752655714285</c:v>
                </c:pt>
                <c:pt idx="678">
                  <c:v>544.23978917142858</c:v>
                </c:pt>
                <c:pt idx="679">
                  <c:v>602.9988654857143</c:v>
                </c:pt>
                <c:pt idx="680">
                  <c:v>660.98103025714295</c:v>
                </c:pt>
                <c:pt idx="681">
                  <c:v>699.05375275714289</c:v>
                </c:pt>
                <c:pt idx="682">
                  <c:v>732.63057380000009</c:v>
                </c:pt>
                <c:pt idx="683">
                  <c:v>773.42159145714299</c:v>
                </c:pt>
                <c:pt idx="684">
                  <c:v>807.25062830000013</c:v>
                </c:pt>
                <c:pt idx="685">
                  <c:v>824.57569307142865</c:v>
                </c:pt>
                <c:pt idx="686">
                  <c:v>788.61383452857149</c:v>
                </c:pt>
                <c:pt idx="687">
                  <c:v>745.06059174285713</c:v>
                </c:pt>
                <c:pt idx="688">
                  <c:v>708.59720861428559</c:v>
                </c:pt>
                <c:pt idx="689">
                  <c:v>675.96756322857141</c:v>
                </c:pt>
                <c:pt idx="690">
                  <c:v>645.06968425714274</c:v>
                </c:pt>
                <c:pt idx="691">
                  <c:v>639.35874642857141</c:v>
                </c:pt>
                <c:pt idx="692">
                  <c:v>646.84445558571429</c:v>
                </c:pt>
                <c:pt idx="693">
                  <c:v>688.38570101428581</c:v>
                </c:pt>
                <c:pt idx="694">
                  <c:v>745.04625135714286</c:v>
                </c:pt>
                <c:pt idx="695">
                  <c:v>803.62299912857145</c:v>
                </c:pt>
                <c:pt idx="696">
                  <c:v>872.22263771428572</c:v>
                </c:pt>
                <c:pt idx="697">
                  <c:v>949.81433187142852</c:v>
                </c:pt>
                <c:pt idx="698">
                  <c:v>1014.2639912142857</c:v>
                </c:pt>
                <c:pt idx="699">
                  <c:v>1068.8881956142857</c:v>
                </c:pt>
                <c:pt idx="700">
                  <c:v>1097.4238629285715</c:v>
                </c:pt>
                <c:pt idx="701">
                  <c:v>1114.5329051428571</c:v>
                </c:pt>
                <c:pt idx="702">
                  <c:v>1152.6536653999999</c:v>
                </c:pt>
                <c:pt idx="703">
                  <c:v>1180.9513620285713</c:v>
                </c:pt>
                <c:pt idx="704">
                  <c:v>1215.0460576</c:v>
                </c:pt>
                <c:pt idx="705">
                  <c:v>1243.2638112142856</c:v>
                </c:pt>
                <c:pt idx="706">
                  <c:v>1281.2033672714283</c:v>
                </c:pt>
                <c:pt idx="707">
                  <c:v>1307.3408837285715</c:v>
                </c:pt>
                <c:pt idx="708">
                  <c:v>1329.3384229428571</c:v>
                </c:pt>
                <c:pt idx="709">
                  <c:v>1336.9016169571428</c:v>
                </c:pt>
                <c:pt idx="710">
                  <c:v>1382.1102996857142</c:v>
                </c:pt>
                <c:pt idx="711">
                  <c:v>1461.8072017857141</c:v>
                </c:pt>
                <c:pt idx="712">
                  <c:v>1551.7049417571429</c:v>
                </c:pt>
                <c:pt idx="713">
                  <c:v>1601.8496248714284</c:v>
                </c:pt>
                <c:pt idx="714">
                  <c:v>1640.1299072428571</c:v>
                </c:pt>
                <c:pt idx="715">
                  <c:v>1669.5984787</c:v>
                </c:pt>
                <c:pt idx="716">
                  <c:v>1694.6574542857143</c:v>
                </c:pt>
                <c:pt idx="717">
                  <c:v>1717.7256558428569</c:v>
                </c:pt>
                <c:pt idx="718">
                  <c:v>1775.6605586142857</c:v>
                </c:pt>
                <c:pt idx="719">
                  <c:v>1850.1777613571428</c:v>
                </c:pt>
                <c:pt idx="720">
                  <c:v>1933.6927643285712</c:v>
                </c:pt>
                <c:pt idx="721">
                  <c:v>2002.9816595571428</c:v>
                </c:pt>
                <c:pt idx="722">
                  <c:v>2057.2592044571429</c:v>
                </c:pt>
                <c:pt idx="723">
                  <c:v>2089.8257314142857</c:v>
                </c:pt>
                <c:pt idx="724">
                  <c:v>2091.2238411428571</c:v>
                </c:pt>
                <c:pt idx="725">
                  <c:v>2032.0761072571429</c:v>
                </c:pt>
                <c:pt idx="726">
                  <c:v>1936.8356725857145</c:v>
                </c:pt>
                <c:pt idx="727">
                  <c:v>1839.1195109</c:v>
                </c:pt>
                <c:pt idx="728">
                  <c:v>1762.8176182571428</c:v>
                </c:pt>
                <c:pt idx="729">
                  <c:v>1704.8883929571427</c:v>
                </c:pt>
                <c:pt idx="730">
                  <c:v>1664.0506338142857</c:v>
                </c:pt>
                <c:pt idx="731">
                  <c:v>1636.1371209999998</c:v>
                </c:pt>
                <c:pt idx="732">
                  <c:v>1619.129491557143</c:v>
                </c:pt>
                <c:pt idx="733">
                  <c:v>1635.5320727714286</c:v>
                </c:pt>
                <c:pt idx="734">
                  <c:v>1654.6175392142857</c:v>
                </c:pt>
                <c:pt idx="735">
                  <c:v>1670.1470180714289</c:v>
                </c:pt>
                <c:pt idx="736">
                  <c:v>1700.8196382857145</c:v>
                </c:pt>
                <c:pt idx="737">
                  <c:v>1733.7317122999998</c:v>
                </c:pt>
                <c:pt idx="738">
                  <c:v>1808.9671793714285</c:v>
                </c:pt>
                <c:pt idx="739">
                  <c:v>1852.6131199714287</c:v>
                </c:pt>
                <c:pt idx="740">
                  <c:v>1850.9700657571429</c:v>
                </c:pt>
                <c:pt idx="741">
                  <c:v>1856.4352025428573</c:v>
                </c:pt>
                <c:pt idx="742">
                  <c:v>1869.4030967714284</c:v>
                </c:pt>
                <c:pt idx="743">
                  <c:v>1863.2685240142855</c:v>
                </c:pt>
                <c:pt idx="744">
                  <c:v>1855.5590140714285</c:v>
                </c:pt>
                <c:pt idx="745">
                  <c:v>1807.8156223857143</c:v>
                </c:pt>
                <c:pt idx="746">
                  <c:v>1811.7333884285713</c:v>
                </c:pt>
                <c:pt idx="747">
                  <c:v>1843.6818862</c:v>
                </c:pt>
                <c:pt idx="748">
                  <c:v>1866.5090057714285</c:v>
                </c:pt>
                <c:pt idx="749">
                  <c:v>1898.4706657285712</c:v>
                </c:pt>
                <c:pt idx="750">
                  <c:v>1928.6835153428572</c:v>
                </c:pt>
                <c:pt idx="751">
                  <c:v>1950.0367097714284</c:v>
                </c:pt>
                <c:pt idx="752">
                  <c:v>1962.5025974285713</c:v>
                </c:pt>
                <c:pt idx="753">
                  <c:v>2006.0432956714285</c:v>
                </c:pt>
                <c:pt idx="754">
                  <c:v>2039.3231001142854</c:v>
                </c:pt>
                <c:pt idx="755">
                  <c:v>2061.3795149999996</c:v>
                </c:pt>
                <c:pt idx="756">
                  <c:v>2070.8688357714286</c:v>
                </c:pt>
                <c:pt idx="757">
                  <c:v>2100.8833240428571</c:v>
                </c:pt>
                <c:pt idx="758">
                  <c:v>2126.8754004857142</c:v>
                </c:pt>
                <c:pt idx="759">
                  <c:v>2140.7405013285711</c:v>
                </c:pt>
                <c:pt idx="760">
                  <c:v>2090.2099145428569</c:v>
                </c:pt>
                <c:pt idx="761">
                  <c:v>2184.8821825285713</c:v>
                </c:pt>
                <c:pt idx="762">
                  <c:v>2283.7280674714284</c:v>
                </c:pt>
                <c:pt idx="763">
                  <c:v>2330.6527033142856</c:v>
                </c:pt>
                <c:pt idx="764">
                  <c:v>2329.3208702857141</c:v>
                </c:pt>
                <c:pt idx="765">
                  <c:v>2320.5507451714284</c:v>
                </c:pt>
                <c:pt idx="766">
                  <c:v>2320.6150451428571</c:v>
                </c:pt>
                <c:pt idx="767">
                  <c:v>2343.8870012000002</c:v>
                </c:pt>
                <c:pt idx="768">
                  <c:v>2235.4424141571426</c:v>
                </c:pt>
                <c:pt idx="769">
                  <c:v>2141.9765671285718</c:v>
                </c:pt>
                <c:pt idx="770">
                  <c:v>2125.7151108857142</c:v>
                </c:pt>
                <c:pt idx="771">
                  <c:v>2152.2912827285718</c:v>
                </c:pt>
                <c:pt idx="772">
                  <c:v>2194.2138776000002</c:v>
                </c:pt>
                <c:pt idx="773">
                  <c:v>2239.2270278000001</c:v>
                </c:pt>
                <c:pt idx="774">
                  <c:v>2273.5756761142857</c:v>
                </c:pt>
                <c:pt idx="775">
                  <c:v>2325.821802742857</c:v>
                </c:pt>
                <c:pt idx="776">
                  <c:v>2345.8246706142859</c:v>
                </c:pt>
                <c:pt idx="777">
                  <c:v>2327.1781080000001</c:v>
                </c:pt>
                <c:pt idx="778">
                  <c:v>2306.6350291000003</c:v>
                </c:pt>
                <c:pt idx="779">
                  <c:v>2279.8253962428571</c:v>
                </c:pt>
                <c:pt idx="780">
                  <c:v>2263.677825628572</c:v>
                </c:pt>
                <c:pt idx="781">
                  <c:v>2273.7500111142863</c:v>
                </c:pt>
                <c:pt idx="782">
                  <c:v>2258.4878222000002</c:v>
                </c:pt>
                <c:pt idx="783">
                  <c:v>2254.3602876142859</c:v>
                </c:pt>
                <c:pt idx="784">
                  <c:v>2250.6479489857143</c:v>
                </c:pt>
                <c:pt idx="785">
                  <c:v>2234.1962820428571</c:v>
                </c:pt>
                <c:pt idx="786">
                  <c:v>2229.8370296142853</c:v>
                </c:pt>
                <c:pt idx="787">
                  <c:v>2222.6118774857141</c:v>
                </c:pt>
                <c:pt idx="788">
                  <c:v>2214.6558398142856</c:v>
                </c:pt>
                <c:pt idx="789">
                  <c:v>2207.2252087857146</c:v>
                </c:pt>
                <c:pt idx="790">
                  <c:v>2218.4864335571428</c:v>
                </c:pt>
                <c:pt idx="791">
                  <c:v>2232.3244048571428</c:v>
                </c:pt>
                <c:pt idx="792">
                  <c:v>2244.6188793714286</c:v>
                </c:pt>
                <c:pt idx="793">
                  <c:v>2252.2303694714287</c:v>
                </c:pt>
                <c:pt idx="794">
                  <c:v>2249.061043628571</c:v>
                </c:pt>
                <c:pt idx="795">
                  <c:v>2237.2976214714286</c:v>
                </c:pt>
                <c:pt idx="796">
                  <c:v>2231.0552079714284</c:v>
                </c:pt>
                <c:pt idx="797">
                  <c:v>2209.7117133142856</c:v>
                </c:pt>
                <c:pt idx="798">
                  <c:v>2190.7759598428574</c:v>
                </c:pt>
                <c:pt idx="799">
                  <c:v>2173.2724929285714</c:v>
                </c:pt>
                <c:pt idx="800">
                  <c:v>2160.5706569571435</c:v>
                </c:pt>
                <c:pt idx="801">
                  <c:v>2151.3924248428571</c:v>
                </c:pt>
                <c:pt idx="802">
                  <c:v>2141.7454956857141</c:v>
                </c:pt>
                <c:pt idx="803">
                  <c:v>2133.5722097000003</c:v>
                </c:pt>
                <c:pt idx="804">
                  <c:v>2127.08639121428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1CB-4DAD-968A-131BF851268F}"/>
            </c:ext>
          </c:extLst>
        </c:ser>
        <c:ser>
          <c:idx val="1"/>
          <c:order val="3"/>
          <c:tx>
            <c:strRef>
              <c:f>Sheet1!$C$1</c:f>
              <c:strCache>
                <c:ptCount val="1"/>
                <c:pt idx="0">
                  <c:v>Covid</c:v>
                </c:pt>
              </c:strCache>
            </c:strRef>
          </c:tx>
          <c:spPr>
            <a:solidFill>
              <a:srgbClr val="FF0000"/>
            </a:solidFill>
            <a:ln w="12700">
              <a:solidFill>
                <a:srgbClr val="FF0000"/>
              </a:solidFill>
            </a:ln>
            <a:effectLst/>
          </c:spPr>
          <c:invertIfNegative val="0"/>
          <c:val>
            <c:numRef>
              <c:f>Sheet1!$C$2:$C$806</c:f>
              <c:numCache>
                <c:formatCode>#,##0</c:formatCode>
                <c:ptCount val="8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-1.6478025285714286</c:v>
                </c:pt>
                <c:pt idx="250">
                  <c:v>-5.2656717571428571</c:v>
                </c:pt>
                <c:pt idx="251">
                  <c:v>-9.6192756428571435</c:v>
                </c:pt>
                <c:pt idx="252">
                  <c:v>-15.091682871428572</c:v>
                </c:pt>
                <c:pt idx="253">
                  <c:v>-21.93219182857143</c:v>
                </c:pt>
                <c:pt idx="254">
                  <c:v>-30.3901012</c:v>
                </c:pt>
                <c:pt idx="255">
                  <c:v>-39.960733285714291</c:v>
                </c:pt>
                <c:pt idx="256">
                  <c:v>-45.864852742857146</c:v>
                </c:pt>
                <c:pt idx="257">
                  <c:v>-47.159989000000003</c:v>
                </c:pt>
                <c:pt idx="258">
                  <c:v>-47.543057528571431</c:v>
                </c:pt>
                <c:pt idx="259">
                  <c:v>-45.737163085714293</c:v>
                </c:pt>
                <c:pt idx="260">
                  <c:v>-41.748386285714282</c:v>
                </c:pt>
                <c:pt idx="261">
                  <c:v>-34.895716371428577</c:v>
                </c:pt>
                <c:pt idx="262">
                  <c:v>-26.139864900000003</c:v>
                </c:pt>
                <c:pt idx="263">
                  <c:v>-20.43031995714286</c:v>
                </c:pt>
                <c:pt idx="264">
                  <c:v>-16.87933572857143</c:v>
                </c:pt>
                <c:pt idx="265">
                  <c:v>-13.522926014285714</c:v>
                </c:pt>
                <c:pt idx="266">
                  <c:v>-11.93592784285714</c:v>
                </c:pt>
                <c:pt idx="267">
                  <c:v>-11.358284814285714</c:v>
                </c:pt>
                <c:pt idx="268">
                  <c:v>-12.677743000000001</c:v>
                </c:pt>
                <c:pt idx="269">
                  <c:v>-14.769418585714286</c:v>
                </c:pt>
                <c:pt idx="270">
                  <c:v>-15.103843414285715</c:v>
                </c:pt>
                <c:pt idx="271">
                  <c:v>-17.566426700000001</c:v>
                </c:pt>
                <c:pt idx="272">
                  <c:v>-20.497204814285713</c:v>
                </c:pt>
                <c:pt idx="273">
                  <c:v>-23.142201657142856</c:v>
                </c:pt>
                <c:pt idx="274">
                  <c:v>-26.753990399999999</c:v>
                </c:pt>
                <c:pt idx="275">
                  <c:v>-31.332571042857143</c:v>
                </c:pt>
                <c:pt idx="276">
                  <c:v>-38.835849471428574</c:v>
                </c:pt>
                <c:pt idx="277">
                  <c:v>-50.875145485714292</c:v>
                </c:pt>
                <c:pt idx="278">
                  <c:v>-65.38310512857143</c:v>
                </c:pt>
                <c:pt idx="279">
                  <c:v>-83.186669971428572</c:v>
                </c:pt>
                <c:pt idx="280">
                  <c:v>-106.55384895714285</c:v>
                </c:pt>
                <c:pt idx="281">
                  <c:v>-135.16845839999999</c:v>
                </c:pt>
                <c:pt idx="282">
                  <c:v>-168.50149897142859</c:v>
                </c:pt>
                <c:pt idx="283">
                  <c:v>-205.45240862857142</c:v>
                </c:pt>
                <c:pt idx="284">
                  <c:v>-245.91781977142858</c:v>
                </c:pt>
                <c:pt idx="285">
                  <c:v>-289.56330771428571</c:v>
                </c:pt>
                <c:pt idx="286">
                  <c:v>-336.74153845714284</c:v>
                </c:pt>
                <c:pt idx="287">
                  <c:v>-385.16018157142855</c:v>
                </c:pt>
                <c:pt idx="288">
                  <c:v>-434.07742175714287</c:v>
                </c:pt>
                <c:pt idx="289">
                  <c:v>-483.28044322857141</c:v>
                </c:pt>
                <c:pt idx="290">
                  <c:v>-531.67476455714291</c:v>
                </c:pt>
                <c:pt idx="291">
                  <c:v>-577.37544548571429</c:v>
                </c:pt>
                <c:pt idx="292">
                  <c:v>-619.93253235714292</c:v>
                </c:pt>
                <c:pt idx="293">
                  <c:v>-658.98119821428566</c:v>
                </c:pt>
                <c:pt idx="294">
                  <c:v>-692.39328458571435</c:v>
                </c:pt>
                <c:pt idx="295">
                  <c:v>-719.81612522857154</c:v>
                </c:pt>
                <c:pt idx="296">
                  <c:v>-741.14635252857147</c:v>
                </c:pt>
                <c:pt idx="297">
                  <c:v>-757.03457485714284</c:v>
                </c:pt>
                <c:pt idx="298">
                  <c:v>-767.90034334285713</c:v>
                </c:pt>
                <c:pt idx="299">
                  <c:v>-773.71933635714288</c:v>
                </c:pt>
                <c:pt idx="300">
                  <c:v>-775.63467887142849</c:v>
                </c:pt>
                <c:pt idx="301">
                  <c:v>-775.75020742857146</c:v>
                </c:pt>
                <c:pt idx="302">
                  <c:v>-774.68004778571412</c:v>
                </c:pt>
                <c:pt idx="303">
                  <c:v>-772.62485480000009</c:v>
                </c:pt>
                <c:pt idx="304">
                  <c:v>-770.99529355714287</c:v>
                </c:pt>
                <c:pt idx="305">
                  <c:v>-769.76704215714278</c:v>
                </c:pt>
                <c:pt idx="306">
                  <c:v>-769.73055942857138</c:v>
                </c:pt>
                <c:pt idx="307">
                  <c:v>-771.13514389999989</c:v>
                </c:pt>
                <c:pt idx="308">
                  <c:v>-772.74038335714272</c:v>
                </c:pt>
                <c:pt idx="309">
                  <c:v>-774.43074925714279</c:v>
                </c:pt>
                <c:pt idx="310">
                  <c:v>-776.71699934285721</c:v>
                </c:pt>
                <c:pt idx="311">
                  <c:v>-777.62906721428567</c:v>
                </c:pt>
                <c:pt idx="312">
                  <c:v>-778.48033057142857</c:v>
                </c:pt>
                <c:pt idx="313">
                  <c:v>-778.48033057142857</c:v>
                </c:pt>
                <c:pt idx="314">
                  <c:v>-775.34281712857148</c:v>
                </c:pt>
                <c:pt idx="315">
                  <c:v>-771.94992467142856</c:v>
                </c:pt>
                <c:pt idx="316">
                  <c:v>-768.45974495714279</c:v>
                </c:pt>
                <c:pt idx="317">
                  <c:v>-764.35543959999995</c:v>
                </c:pt>
                <c:pt idx="318">
                  <c:v>-760.12952508571414</c:v>
                </c:pt>
                <c:pt idx="319">
                  <c:v>-755.32596767142866</c:v>
                </c:pt>
                <c:pt idx="320">
                  <c:v>-750.41296204285732</c:v>
                </c:pt>
                <c:pt idx="321">
                  <c:v>-746.98358684285711</c:v>
                </c:pt>
                <c:pt idx="322">
                  <c:v>-744.42979677142864</c:v>
                </c:pt>
                <c:pt idx="323">
                  <c:v>-742.18610975714284</c:v>
                </c:pt>
                <c:pt idx="324">
                  <c:v>-740.70855981428565</c:v>
                </c:pt>
                <c:pt idx="325">
                  <c:v>-740.05795144285719</c:v>
                </c:pt>
                <c:pt idx="326">
                  <c:v>-739.4377453285714</c:v>
                </c:pt>
                <c:pt idx="327">
                  <c:v>-739.68704387142861</c:v>
                </c:pt>
                <c:pt idx="328">
                  <c:v>-739.86945741428565</c:v>
                </c:pt>
                <c:pt idx="329">
                  <c:v>-738.36758568571429</c:v>
                </c:pt>
                <c:pt idx="330">
                  <c:v>-736.12389867142861</c:v>
                </c:pt>
                <c:pt idx="331">
                  <c:v>-732.49994897142847</c:v>
                </c:pt>
                <c:pt idx="332">
                  <c:v>-729.10705637142837</c:v>
                </c:pt>
                <c:pt idx="333">
                  <c:v>-725.99386471428568</c:v>
                </c:pt>
                <c:pt idx="334">
                  <c:v>-722.7955467571428</c:v>
                </c:pt>
                <c:pt idx="335">
                  <c:v>-719.97421685714289</c:v>
                </c:pt>
                <c:pt idx="336">
                  <c:v>-717.77309307142866</c:v>
                </c:pt>
                <c:pt idx="337">
                  <c:v>-716.33202585714287</c:v>
                </c:pt>
                <c:pt idx="338">
                  <c:v>-716.03408361428569</c:v>
                </c:pt>
                <c:pt idx="339">
                  <c:v>-714.14914335714286</c:v>
                </c:pt>
                <c:pt idx="340">
                  <c:v>-712.1486744</c:v>
                </c:pt>
                <c:pt idx="341">
                  <c:v>-708.2571847142857</c:v>
                </c:pt>
                <c:pt idx="342">
                  <c:v>-703.33809859999997</c:v>
                </c:pt>
                <c:pt idx="343">
                  <c:v>-698.18187475714296</c:v>
                </c:pt>
                <c:pt idx="344">
                  <c:v>-691.90684774285717</c:v>
                </c:pt>
                <c:pt idx="345">
                  <c:v>-684.83528154285716</c:v>
                </c:pt>
                <c:pt idx="346">
                  <c:v>-678.60281772857149</c:v>
                </c:pt>
                <c:pt idx="347">
                  <c:v>-672.40683665714289</c:v>
                </c:pt>
                <c:pt idx="348">
                  <c:v>-667.16548667142865</c:v>
                </c:pt>
                <c:pt idx="349">
                  <c:v>-663.64490469999998</c:v>
                </c:pt>
                <c:pt idx="350">
                  <c:v>-660.49523044285718</c:v>
                </c:pt>
                <c:pt idx="351">
                  <c:v>-658.19681954285716</c:v>
                </c:pt>
                <c:pt idx="352">
                  <c:v>-656.19635072857159</c:v>
                </c:pt>
                <c:pt idx="353">
                  <c:v>-654.0560316000001</c:v>
                </c:pt>
                <c:pt idx="354">
                  <c:v>-650.93067912857146</c:v>
                </c:pt>
                <c:pt idx="355">
                  <c:v>-647.98774020000008</c:v>
                </c:pt>
                <c:pt idx="356">
                  <c:v>-642.67950522857143</c:v>
                </c:pt>
                <c:pt idx="357">
                  <c:v>-637.08548884285722</c:v>
                </c:pt>
                <c:pt idx="358">
                  <c:v>-631.5461966142858</c:v>
                </c:pt>
                <c:pt idx="359">
                  <c:v>-626.38997278571435</c:v>
                </c:pt>
                <c:pt idx="360">
                  <c:v>-621.95732280000004</c:v>
                </c:pt>
                <c:pt idx="361">
                  <c:v>-619.90821028571429</c:v>
                </c:pt>
                <c:pt idx="362">
                  <c:v>-618.89885515714286</c:v>
                </c:pt>
                <c:pt idx="363">
                  <c:v>-619.66499207142863</c:v>
                </c:pt>
                <c:pt idx="364">
                  <c:v>-621.03917442857141</c:v>
                </c:pt>
                <c:pt idx="365">
                  <c:v>-622.78426421428571</c:v>
                </c:pt>
                <c:pt idx="366">
                  <c:v>-624.60231961428576</c:v>
                </c:pt>
                <c:pt idx="367">
                  <c:v>-626.17715681428569</c:v>
                </c:pt>
                <c:pt idx="368">
                  <c:v>-624.96106622857144</c:v>
                </c:pt>
                <c:pt idx="369">
                  <c:v>-622.44983938571443</c:v>
                </c:pt>
                <c:pt idx="370">
                  <c:v>-619.05694692857139</c:v>
                </c:pt>
                <c:pt idx="371">
                  <c:v>-615.05600917142863</c:v>
                </c:pt>
                <c:pt idx="372">
                  <c:v>-609.88154418571423</c:v>
                </c:pt>
                <c:pt idx="373">
                  <c:v>-604.17807972857156</c:v>
                </c:pt>
                <c:pt idx="374">
                  <c:v>-597.70847834285712</c:v>
                </c:pt>
                <c:pt idx="375">
                  <c:v>-592.39416288571442</c:v>
                </c:pt>
                <c:pt idx="376">
                  <c:v>-587.65749031428561</c:v>
                </c:pt>
                <c:pt idx="377">
                  <c:v>-583.32820819999995</c:v>
                </c:pt>
                <c:pt idx="378">
                  <c:v>-579.12053497142858</c:v>
                </c:pt>
                <c:pt idx="379">
                  <c:v>-575.1195972142857</c:v>
                </c:pt>
                <c:pt idx="380">
                  <c:v>-570.53493608571432</c:v>
                </c:pt>
                <c:pt idx="381">
                  <c:v>-566.16917122857149</c:v>
                </c:pt>
                <c:pt idx="382">
                  <c:v>-563.0316577857144</c:v>
                </c:pt>
                <c:pt idx="383">
                  <c:v>-559.81509838571424</c:v>
                </c:pt>
                <c:pt idx="384">
                  <c:v>-557.07281429999989</c:v>
                </c:pt>
                <c:pt idx="385">
                  <c:v>-555.26691999999991</c:v>
                </c:pt>
                <c:pt idx="386">
                  <c:v>-554.45213938571419</c:v>
                </c:pt>
                <c:pt idx="387">
                  <c:v>-555.11490871428566</c:v>
                </c:pt>
                <c:pt idx="388">
                  <c:v>-556.4586886714286</c:v>
                </c:pt>
                <c:pt idx="389">
                  <c:v>-556.06345932857141</c:v>
                </c:pt>
                <c:pt idx="390">
                  <c:v>-554.76832307142854</c:v>
                </c:pt>
                <c:pt idx="391">
                  <c:v>-552.77393474285714</c:v>
                </c:pt>
                <c:pt idx="392">
                  <c:v>-549.5573753428572</c:v>
                </c:pt>
                <c:pt idx="393">
                  <c:v>-545.93950611428568</c:v>
                </c:pt>
                <c:pt idx="394">
                  <c:v>-541.52509755714277</c:v>
                </c:pt>
                <c:pt idx="395">
                  <c:v>-397.88459229999995</c:v>
                </c:pt>
                <c:pt idx="396">
                  <c:v>-73.557326885714318</c:v>
                </c:pt>
                <c:pt idx="397">
                  <c:v>74.363548957142896</c:v>
                </c:pt>
                <c:pt idx="398">
                  <c:v>64.597754614285719</c:v>
                </c:pt>
                <c:pt idx="399">
                  <c:v>67.370440814285715</c:v>
                </c:pt>
                <c:pt idx="400">
                  <c:v>70.258655714285766</c:v>
                </c:pt>
                <c:pt idx="401">
                  <c:v>73.019181100000026</c:v>
                </c:pt>
                <c:pt idx="402">
                  <c:v>75.287189885714341</c:v>
                </c:pt>
                <c:pt idx="403">
                  <c:v>76.697854842857197</c:v>
                </c:pt>
                <c:pt idx="404">
                  <c:v>76.49719985714286</c:v>
                </c:pt>
                <c:pt idx="405">
                  <c:v>75.962120028571476</c:v>
                </c:pt>
                <c:pt idx="406">
                  <c:v>75.439201171428635</c:v>
                </c:pt>
                <c:pt idx="407">
                  <c:v>75.074374071428593</c:v>
                </c:pt>
                <c:pt idx="408">
                  <c:v>74.502811514285753</c:v>
                </c:pt>
                <c:pt idx="409">
                  <c:v>73.797479114285764</c:v>
                </c:pt>
                <c:pt idx="410">
                  <c:v>72.24088335714292</c:v>
                </c:pt>
                <c:pt idx="411">
                  <c:v>72.7698828428572</c:v>
                </c:pt>
                <c:pt idx="412">
                  <c:v>73.031342342857201</c:v>
                </c:pt>
                <c:pt idx="413">
                  <c:v>73.450893614285732</c:v>
                </c:pt>
                <c:pt idx="414">
                  <c:v>73.639387642857173</c:v>
                </c:pt>
                <c:pt idx="415">
                  <c:v>74.144065200000014</c:v>
                </c:pt>
                <c:pt idx="416">
                  <c:v>74.867639042857164</c:v>
                </c:pt>
                <c:pt idx="417">
                  <c:v>77.555198957142892</c:v>
                </c:pt>
                <c:pt idx="418">
                  <c:v>79.701598571428619</c:v>
                </c:pt>
                <c:pt idx="419">
                  <c:v>82.7479052428572</c:v>
                </c:pt>
                <c:pt idx="420">
                  <c:v>85.696924657142901</c:v>
                </c:pt>
                <c:pt idx="421">
                  <c:v>88.433128271428615</c:v>
                </c:pt>
                <c:pt idx="422">
                  <c:v>90.646413028571473</c:v>
                </c:pt>
                <c:pt idx="423">
                  <c:v>92.403663771428612</c:v>
                </c:pt>
                <c:pt idx="424">
                  <c:v>92.646881971428613</c:v>
                </c:pt>
                <c:pt idx="425">
                  <c:v>92.263813442857199</c:v>
                </c:pt>
                <c:pt idx="426">
                  <c:v>91.479435085714314</c:v>
                </c:pt>
                <c:pt idx="427">
                  <c:v>90.530884471428607</c:v>
                </c:pt>
                <c:pt idx="428">
                  <c:v>89.387759500000058</c:v>
                </c:pt>
                <c:pt idx="429">
                  <c:v>88.062220842857215</c:v>
                </c:pt>
                <c:pt idx="430">
                  <c:v>86.998141685714373</c:v>
                </c:pt>
                <c:pt idx="431">
                  <c:v>85.940142857142874</c:v>
                </c:pt>
                <c:pt idx="432">
                  <c:v>84.66932837142862</c:v>
                </c:pt>
                <c:pt idx="433">
                  <c:v>83.216100200000014</c:v>
                </c:pt>
                <c:pt idx="434">
                  <c:v>81.993929285714287</c:v>
                </c:pt>
                <c:pt idx="435">
                  <c:v>80.698792885714283</c:v>
                </c:pt>
                <c:pt idx="436">
                  <c:v>80.340046271428591</c:v>
                </c:pt>
                <c:pt idx="437">
                  <c:v>80.26100031428571</c:v>
                </c:pt>
                <c:pt idx="438">
                  <c:v>81.464929957142886</c:v>
                </c:pt>
                <c:pt idx="439">
                  <c:v>83.684295042857116</c:v>
                </c:pt>
                <c:pt idx="440">
                  <c:v>86.292809142857138</c:v>
                </c:pt>
                <c:pt idx="441">
                  <c:v>88.712829214285748</c:v>
                </c:pt>
                <c:pt idx="442">
                  <c:v>92.616479714285759</c:v>
                </c:pt>
                <c:pt idx="443">
                  <c:v>95.632384128571431</c:v>
                </c:pt>
                <c:pt idx="444">
                  <c:v>286.70404890000003</c:v>
                </c:pt>
                <c:pt idx="445">
                  <c:v>571.0794310857143</c:v>
                </c:pt>
                <c:pt idx="446">
                  <c:v>760.98547397142852</c:v>
                </c:pt>
                <c:pt idx="447">
                  <c:v>781.69426120000003</c:v>
                </c:pt>
                <c:pt idx="448">
                  <c:v>782.93467357142856</c:v>
                </c:pt>
                <c:pt idx="449">
                  <c:v>782.78874262857141</c:v>
                </c:pt>
                <c:pt idx="450">
                  <c:v>783.67040824285698</c:v>
                </c:pt>
                <c:pt idx="451">
                  <c:v>694.89775925714275</c:v>
                </c:pt>
                <c:pt idx="452">
                  <c:v>607.15270682857147</c:v>
                </c:pt>
                <c:pt idx="453">
                  <c:v>518.48342557142848</c:v>
                </c:pt>
                <c:pt idx="454">
                  <c:v>433.76643852857131</c:v>
                </c:pt>
                <c:pt idx="455">
                  <c:v>439.56719009999995</c:v>
                </c:pt>
                <c:pt idx="456">
                  <c:v>446.51106692857138</c:v>
                </c:pt>
                <c:pt idx="457">
                  <c:v>453.75288585714281</c:v>
                </c:pt>
                <c:pt idx="458">
                  <c:v>460.7697280142857</c:v>
                </c:pt>
                <c:pt idx="459">
                  <c:v>467.22716858571431</c:v>
                </c:pt>
                <c:pt idx="460">
                  <c:v>474.67572284285717</c:v>
                </c:pt>
                <c:pt idx="461">
                  <c:v>480.02044054285716</c:v>
                </c:pt>
                <c:pt idx="462">
                  <c:v>484.81183714285714</c:v>
                </c:pt>
                <c:pt idx="463">
                  <c:v>488.93438392857132</c:v>
                </c:pt>
                <c:pt idx="464">
                  <c:v>491.98677107142845</c:v>
                </c:pt>
                <c:pt idx="465">
                  <c:v>494.3034234142857</c:v>
                </c:pt>
                <c:pt idx="466">
                  <c:v>496.0302719</c:v>
                </c:pt>
                <c:pt idx="467">
                  <c:v>496.41942089999992</c:v>
                </c:pt>
                <c:pt idx="468">
                  <c:v>496.29173139999995</c:v>
                </c:pt>
                <c:pt idx="469">
                  <c:v>495.68976658571421</c:v>
                </c:pt>
                <c:pt idx="470">
                  <c:v>494.37030827142843</c:v>
                </c:pt>
                <c:pt idx="471">
                  <c:v>492.58265512857133</c:v>
                </c:pt>
                <c:pt idx="472">
                  <c:v>490.50314037142851</c:v>
                </c:pt>
                <c:pt idx="473">
                  <c:v>488.07703981428568</c:v>
                </c:pt>
                <c:pt idx="474">
                  <c:v>484.9273654142857</c:v>
                </c:pt>
                <c:pt idx="475">
                  <c:v>481.44934651428559</c:v>
                </c:pt>
                <c:pt idx="476">
                  <c:v>477.68554648571416</c:v>
                </c:pt>
                <c:pt idx="477">
                  <c:v>474.47506755714284</c:v>
                </c:pt>
                <c:pt idx="478">
                  <c:v>471.91519715714281</c:v>
                </c:pt>
                <c:pt idx="479">
                  <c:v>469.38572887142851</c:v>
                </c:pt>
                <c:pt idx="480">
                  <c:v>467.35485767142853</c:v>
                </c:pt>
                <c:pt idx="481">
                  <c:v>465.82866402857138</c:v>
                </c:pt>
                <c:pt idx="482">
                  <c:v>464.94091807142848</c:v>
                </c:pt>
                <c:pt idx="483">
                  <c:v>464.56393001428563</c:v>
                </c:pt>
                <c:pt idx="484">
                  <c:v>464.07749390000009</c:v>
                </c:pt>
                <c:pt idx="485">
                  <c:v>463.29919587142865</c:v>
                </c:pt>
                <c:pt idx="486">
                  <c:v>463.1167823285715</c:v>
                </c:pt>
                <c:pt idx="487">
                  <c:v>463.40256359999995</c:v>
                </c:pt>
                <c:pt idx="488">
                  <c:v>465.99283639999993</c:v>
                </c:pt>
                <c:pt idx="489">
                  <c:v>467.9020984428571</c:v>
                </c:pt>
                <c:pt idx="490">
                  <c:v>469.27020017142848</c:v>
                </c:pt>
                <c:pt idx="491">
                  <c:v>470.57749738571425</c:v>
                </c:pt>
                <c:pt idx="492">
                  <c:v>472.18881732857142</c:v>
                </c:pt>
                <c:pt idx="493">
                  <c:v>473.78189581428569</c:v>
                </c:pt>
                <c:pt idx="494">
                  <c:v>473.92174628571428</c:v>
                </c:pt>
                <c:pt idx="495">
                  <c:v>471.38011718571431</c:v>
                </c:pt>
                <c:pt idx="496">
                  <c:v>468.85672937142863</c:v>
                </c:pt>
                <c:pt idx="497">
                  <c:v>466.3698243</c:v>
                </c:pt>
                <c:pt idx="498">
                  <c:v>462.84316185714277</c:v>
                </c:pt>
                <c:pt idx="499">
                  <c:v>458.43483378571415</c:v>
                </c:pt>
                <c:pt idx="500">
                  <c:v>354.74947498571419</c:v>
                </c:pt>
                <c:pt idx="501">
                  <c:v>157.72999621428571</c:v>
                </c:pt>
                <c:pt idx="502">
                  <c:v>56.493234600000015</c:v>
                </c:pt>
                <c:pt idx="503">
                  <c:v>122.42893790000004</c:v>
                </c:pt>
                <c:pt idx="504">
                  <c:v>117.64362178571433</c:v>
                </c:pt>
                <c:pt idx="505">
                  <c:v>113.69132771428576</c:v>
                </c:pt>
                <c:pt idx="506">
                  <c:v>109.48973511428582</c:v>
                </c:pt>
                <c:pt idx="507">
                  <c:v>106.49815247142861</c:v>
                </c:pt>
                <c:pt idx="508">
                  <c:v>323.44129557142867</c:v>
                </c:pt>
                <c:pt idx="509">
                  <c:v>321.38002224285719</c:v>
                </c:pt>
                <c:pt idx="510">
                  <c:v>321.38002224285719</c:v>
                </c:pt>
                <c:pt idx="511">
                  <c:v>324.56009890000007</c:v>
                </c:pt>
                <c:pt idx="512">
                  <c:v>330.56150547142863</c:v>
                </c:pt>
                <c:pt idx="513">
                  <c:v>336.91557831428582</c:v>
                </c:pt>
                <c:pt idx="514">
                  <c:v>202.94299240000009</c:v>
                </c:pt>
                <c:pt idx="515">
                  <c:v>-334.87979947142856</c:v>
                </c:pt>
                <c:pt idx="516">
                  <c:v>-482.15006695714294</c:v>
                </c:pt>
                <c:pt idx="517">
                  <c:v>-475.42449880000004</c:v>
                </c:pt>
                <c:pt idx="518">
                  <c:v>-486.64293355714284</c:v>
                </c:pt>
                <c:pt idx="519">
                  <c:v>-503.75332681428569</c:v>
                </c:pt>
                <c:pt idx="520">
                  <c:v>-520.10974397142866</c:v>
                </c:pt>
                <c:pt idx="521">
                  <c:v>-534.23463507142856</c:v>
                </c:pt>
                <c:pt idx="522">
                  <c:v>-545.76925338571425</c:v>
                </c:pt>
                <c:pt idx="523">
                  <c:v>-553.24820988571423</c:v>
                </c:pt>
                <c:pt idx="524">
                  <c:v>-558.86046742857138</c:v>
                </c:pt>
                <c:pt idx="525">
                  <c:v>-562.04662457142854</c:v>
                </c:pt>
                <c:pt idx="526">
                  <c:v>-561.95541779999996</c:v>
                </c:pt>
                <c:pt idx="527">
                  <c:v>-562.22295778571436</c:v>
                </c:pt>
                <c:pt idx="528">
                  <c:v>-563.23231277142861</c:v>
                </c:pt>
                <c:pt idx="529">
                  <c:v>-562.72155472857139</c:v>
                </c:pt>
                <c:pt idx="530">
                  <c:v>-561.45074011428574</c:v>
                </c:pt>
                <c:pt idx="531">
                  <c:v>-559.91846614285726</c:v>
                </c:pt>
                <c:pt idx="532">
                  <c:v>-558.29498524285714</c:v>
                </c:pt>
                <c:pt idx="533">
                  <c:v>-556.58029757142856</c:v>
                </c:pt>
                <c:pt idx="534">
                  <c:v>-554.48862184285713</c:v>
                </c:pt>
                <c:pt idx="535">
                  <c:v>-552.0625212857143</c:v>
                </c:pt>
                <c:pt idx="536">
                  <c:v>-550.5667300428571</c:v>
                </c:pt>
                <c:pt idx="537">
                  <c:v>-550.13501795714296</c:v>
                </c:pt>
                <c:pt idx="538">
                  <c:v>-549.77019085714289</c:v>
                </c:pt>
                <c:pt idx="539">
                  <c:v>-549.17430652857149</c:v>
                </c:pt>
                <c:pt idx="540">
                  <c:v>-547.44745804285719</c:v>
                </c:pt>
                <c:pt idx="541">
                  <c:v>-544.77205895714292</c:v>
                </c:pt>
                <c:pt idx="542">
                  <c:v>-362.48710807142862</c:v>
                </c:pt>
                <c:pt idx="543">
                  <c:v>-177.04032195714294</c:v>
                </c:pt>
                <c:pt idx="544">
                  <c:v>11.738552242857152</c:v>
                </c:pt>
                <c:pt idx="545">
                  <c:v>23.516388742857146</c:v>
                </c:pt>
                <c:pt idx="546">
                  <c:v>36.005638142857109</c:v>
                </c:pt>
                <c:pt idx="547">
                  <c:v>47.394325642857154</c:v>
                </c:pt>
                <c:pt idx="548">
                  <c:v>57.88918657142851</c:v>
                </c:pt>
                <c:pt idx="549">
                  <c:v>66.803129814285739</c:v>
                </c:pt>
                <c:pt idx="550">
                  <c:v>72.287698000000006</c:v>
                </c:pt>
                <c:pt idx="551">
                  <c:v>74.105753271428583</c:v>
                </c:pt>
                <c:pt idx="552">
                  <c:v>74.920533900000009</c:v>
                </c:pt>
                <c:pt idx="553">
                  <c:v>75.261039214285702</c:v>
                </c:pt>
                <c:pt idx="554">
                  <c:v>74.707717942857116</c:v>
                </c:pt>
                <c:pt idx="555">
                  <c:v>72.968708485714274</c:v>
                </c:pt>
                <c:pt idx="556">
                  <c:v>-108.67171437142861</c:v>
                </c:pt>
                <c:pt idx="557">
                  <c:v>-292.27612344285711</c:v>
                </c:pt>
                <c:pt idx="558">
                  <c:v>-477.95396679999993</c:v>
                </c:pt>
                <c:pt idx="559">
                  <c:v>-489.0507925428571</c:v>
                </c:pt>
                <c:pt idx="560">
                  <c:v>-504.64107278571436</c:v>
                </c:pt>
                <c:pt idx="561">
                  <c:v>-522.16493682857151</c:v>
                </c:pt>
                <c:pt idx="562">
                  <c:v>-542.34595852857149</c:v>
                </c:pt>
                <c:pt idx="563">
                  <c:v>-290.12312215714286</c:v>
                </c:pt>
                <c:pt idx="564">
                  <c:v>-293.31138100000004</c:v>
                </c:pt>
                <c:pt idx="565">
                  <c:v>-323.29409218571425</c:v>
                </c:pt>
                <c:pt idx="566">
                  <c:v>-352.57755129999998</c:v>
                </c:pt>
                <c:pt idx="567">
                  <c:v>-379.34370308571425</c:v>
                </c:pt>
                <c:pt idx="568">
                  <c:v>-404.53501767142853</c:v>
                </c:pt>
                <c:pt idx="569">
                  <c:v>-334.04162761428563</c:v>
                </c:pt>
                <c:pt idx="570">
                  <c:v>-532.20653704285712</c:v>
                </c:pt>
                <c:pt idx="571">
                  <c:v>-563.70725954285717</c:v>
                </c:pt>
                <c:pt idx="572">
                  <c:v>-565.71380882857136</c:v>
                </c:pt>
                <c:pt idx="573">
                  <c:v>-563.14785794285717</c:v>
                </c:pt>
                <c:pt idx="574">
                  <c:v>-558.51455311428572</c:v>
                </c:pt>
                <c:pt idx="575">
                  <c:v>-552.18480205714275</c:v>
                </c:pt>
                <c:pt idx="576">
                  <c:v>-637.23479529999997</c:v>
                </c:pt>
                <c:pt idx="577">
                  <c:v>-721.17206584285725</c:v>
                </c:pt>
                <c:pt idx="578">
                  <c:v>-713.80255754285713</c:v>
                </c:pt>
                <c:pt idx="579">
                  <c:v>-707.13230117142859</c:v>
                </c:pt>
                <c:pt idx="580">
                  <c:v>-702.5050768285713</c:v>
                </c:pt>
                <c:pt idx="581">
                  <c:v>-698.47981729999992</c:v>
                </c:pt>
                <c:pt idx="582">
                  <c:v>-695.22677515714281</c:v>
                </c:pt>
                <c:pt idx="583">
                  <c:v>-693.0195708857143</c:v>
                </c:pt>
                <c:pt idx="584">
                  <c:v>-693.84043182857147</c:v>
                </c:pt>
                <c:pt idx="585">
                  <c:v>-695.46999307142869</c:v>
                </c:pt>
                <c:pt idx="586">
                  <c:v>-695.81657885714287</c:v>
                </c:pt>
                <c:pt idx="587">
                  <c:v>-696.09019917142848</c:v>
                </c:pt>
                <c:pt idx="588">
                  <c:v>-696.31517592857142</c:v>
                </c:pt>
                <c:pt idx="589">
                  <c:v>-696.2969346428572</c:v>
                </c:pt>
                <c:pt idx="590">
                  <c:v>-695.55511950000005</c:v>
                </c:pt>
                <c:pt idx="591">
                  <c:v>-694.5518448571429</c:v>
                </c:pt>
                <c:pt idx="592">
                  <c:v>-692.49665187142853</c:v>
                </c:pt>
                <c:pt idx="593">
                  <c:v>-691.76699769999993</c:v>
                </c:pt>
                <c:pt idx="594">
                  <c:v>-690.75764257142862</c:v>
                </c:pt>
                <c:pt idx="595">
                  <c:v>-689.76044827142857</c:v>
                </c:pt>
                <c:pt idx="596">
                  <c:v>-688.38626605714285</c:v>
                </c:pt>
                <c:pt idx="597">
                  <c:v>-687.09721014285708</c:v>
                </c:pt>
                <c:pt idx="598">
                  <c:v>-685.7959934142857</c:v>
                </c:pt>
                <c:pt idx="599">
                  <c:v>-685.67438438571423</c:v>
                </c:pt>
                <c:pt idx="600">
                  <c:v>-683.85024864285708</c:v>
                </c:pt>
                <c:pt idx="601">
                  <c:v>-681.98354982857131</c:v>
                </c:pt>
                <c:pt idx="602">
                  <c:v>-679.64257569999995</c:v>
                </c:pt>
                <c:pt idx="603">
                  <c:v>-677.66642867142866</c:v>
                </c:pt>
                <c:pt idx="604">
                  <c:v>-676.20712015714275</c:v>
                </c:pt>
                <c:pt idx="605">
                  <c:v>-675.10655825714286</c:v>
                </c:pt>
                <c:pt idx="606">
                  <c:v>-672.96015849999992</c:v>
                </c:pt>
                <c:pt idx="607">
                  <c:v>-672.88719302857146</c:v>
                </c:pt>
                <c:pt idx="608">
                  <c:v>-673.59252544285721</c:v>
                </c:pt>
                <c:pt idx="609">
                  <c:v>-675.37409797142857</c:v>
                </c:pt>
                <c:pt idx="610">
                  <c:v>-677.11310727142859</c:v>
                </c:pt>
                <c:pt idx="611">
                  <c:v>-678.45688722857142</c:v>
                </c:pt>
                <c:pt idx="612">
                  <c:v>-679.95267847142861</c:v>
                </c:pt>
                <c:pt idx="613">
                  <c:v>-681.89234290000002</c:v>
                </c:pt>
                <c:pt idx="614">
                  <c:v>-681.60656161428574</c:v>
                </c:pt>
                <c:pt idx="615">
                  <c:v>-680.12901165714288</c:v>
                </c:pt>
                <c:pt idx="616">
                  <c:v>-677.44145174285711</c:v>
                </c:pt>
                <c:pt idx="617">
                  <c:v>-674.3829841142857</c:v>
                </c:pt>
                <c:pt idx="618">
                  <c:v>-671.06913747142858</c:v>
                </c:pt>
                <c:pt idx="619">
                  <c:v>-667.06819971428558</c:v>
                </c:pt>
                <c:pt idx="620">
                  <c:v>-662.01534361428571</c:v>
                </c:pt>
                <c:pt idx="621">
                  <c:v>-657.01113121428568</c:v>
                </c:pt>
                <c:pt idx="622">
                  <c:v>-652.49335508571426</c:v>
                </c:pt>
                <c:pt idx="623">
                  <c:v>-648.01814202857145</c:v>
                </c:pt>
                <c:pt idx="624">
                  <c:v>-643.53076814285726</c:v>
                </c:pt>
                <c:pt idx="625">
                  <c:v>-639.17716425714298</c:v>
                </c:pt>
                <c:pt idx="626">
                  <c:v>-634.59858359999998</c:v>
                </c:pt>
                <c:pt idx="627">
                  <c:v>-630.70709405714285</c:v>
                </c:pt>
                <c:pt idx="628">
                  <c:v>-627.83712045714287</c:v>
                </c:pt>
                <c:pt idx="629">
                  <c:v>-624.88810089999993</c:v>
                </c:pt>
                <c:pt idx="630">
                  <c:v>-622.63225307142864</c:v>
                </c:pt>
                <c:pt idx="631">
                  <c:v>-620.94796765714295</c:v>
                </c:pt>
                <c:pt idx="632">
                  <c:v>-619.54338304285716</c:v>
                </c:pt>
                <c:pt idx="633">
                  <c:v>-619.03262500000005</c:v>
                </c:pt>
                <c:pt idx="634">
                  <c:v>-619.54946338571426</c:v>
                </c:pt>
                <c:pt idx="635">
                  <c:v>-619.98725594285713</c:v>
                </c:pt>
                <c:pt idx="636">
                  <c:v>-619.90212964285718</c:v>
                </c:pt>
                <c:pt idx="637">
                  <c:v>-618.46106228571432</c:v>
                </c:pt>
                <c:pt idx="638">
                  <c:v>-616.1504904285714</c:v>
                </c:pt>
                <c:pt idx="639">
                  <c:v>-612.73327618571432</c:v>
                </c:pt>
                <c:pt idx="640">
                  <c:v>-608.14861505714282</c:v>
                </c:pt>
                <c:pt idx="641">
                  <c:v>-602.70052974285716</c:v>
                </c:pt>
                <c:pt idx="642">
                  <c:v>-596.94234124285708</c:v>
                </c:pt>
                <c:pt idx="643">
                  <c:v>-591.53073854285708</c:v>
                </c:pt>
                <c:pt idx="644">
                  <c:v>-587.26834142857138</c:v>
                </c:pt>
                <c:pt idx="645">
                  <c:v>-582.94513979999999</c:v>
                </c:pt>
                <c:pt idx="646">
                  <c:v>-579.56440815714279</c:v>
                </c:pt>
                <c:pt idx="647">
                  <c:v>-576.53026231428578</c:v>
                </c:pt>
                <c:pt idx="648">
                  <c:v>-573.56300145714283</c:v>
                </c:pt>
                <c:pt idx="649">
                  <c:v>-570.8876023571429</c:v>
                </c:pt>
                <c:pt idx="650">
                  <c:v>-568.28516872857142</c:v>
                </c:pt>
                <c:pt idx="651">
                  <c:v>-565.59760867142859</c:v>
                </c:pt>
                <c:pt idx="652">
                  <c:v>-563.65186375714279</c:v>
                </c:pt>
                <c:pt idx="653">
                  <c:v>-561.60275124285715</c:v>
                </c:pt>
                <c:pt idx="654">
                  <c:v>-560.67852255714286</c:v>
                </c:pt>
                <c:pt idx="655">
                  <c:v>-559.4077079428572</c:v>
                </c:pt>
                <c:pt idx="656">
                  <c:v>-558.74493861428573</c:v>
                </c:pt>
                <c:pt idx="657">
                  <c:v>-558.13689331428577</c:v>
                </c:pt>
                <c:pt idx="658">
                  <c:v>-556.79311335714294</c:v>
                </c:pt>
                <c:pt idx="659">
                  <c:v>-554.67103551428579</c:v>
                </c:pt>
                <c:pt idx="660">
                  <c:v>-552.19021092857145</c:v>
                </c:pt>
                <c:pt idx="661">
                  <c:v>-410.49326392857137</c:v>
                </c:pt>
                <c:pt idx="662">
                  <c:v>-199.48619788571426</c:v>
                </c:pt>
                <c:pt idx="663">
                  <c:v>13.880083714285677</c:v>
                </c:pt>
                <c:pt idx="664">
                  <c:v>243.00589958571427</c:v>
                </c:pt>
                <c:pt idx="665">
                  <c:v>238.69485877142856</c:v>
                </c:pt>
                <c:pt idx="666">
                  <c:v>232.35294688571426</c:v>
                </c:pt>
                <c:pt idx="667">
                  <c:v>224.41187588571432</c:v>
                </c:pt>
                <c:pt idx="668">
                  <c:v>218.4022024857143</c:v>
                </c:pt>
                <c:pt idx="669">
                  <c:v>323.59891731428576</c:v>
                </c:pt>
                <c:pt idx="670">
                  <c:v>250.91169248571427</c:v>
                </c:pt>
                <c:pt idx="671">
                  <c:v>9.2352349428572165</c:v>
                </c:pt>
                <c:pt idx="672">
                  <c:v>14.780607642857165</c:v>
                </c:pt>
                <c:pt idx="673">
                  <c:v>23.007459785714364</c:v>
                </c:pt>
                <c:pt idx="674">
                  <c:v>33.538803442857215</c:v>
                </c:pt>
                <c:pt idx="675">
                  <c:v>43.535067271428623</c:v>
                </c:pt>
                <c:pt idx="676">
                  <c:v>56.893821314285788</c:v>
                </c:pt>
                <c:pt idx="677">
                  <c:v>73.298882171428687</c:v>
                </c:pt>
                <c:pt idx="678">
                  <c:v>85.970545114285784</c:v>
                </c:pt>
                <c:pt idx="679">
                  <c:v>98.326024514285763</c:v>
                </c:pt>
                <c:pt idx="680">
                  <c:v>109.8363210285715</c:v>
                </c:pt>
                <c:pt idx="681">
                  <c:v>120.82369869999999</c:v>
                </c:pt>
                <c:pt idx="682">
                  <c:v>131.34896188571435</c:v>
                </c:pt>
                <c:pt idx="683">
                  <c:v>138.39012584285715</c:v>
                </c:pt>
                <c:pt idx="684">
                  <c:v>141.93502958571429</c:v>
                </c:pt>
                <c:pt idx="685">
                  <c:v>144.5131414285714</c:v>
                </c:pt>
                <c:pt idx="686">
                  <c:v>145.89340412857149</c:v>
                </c:pt>
                <c:pt idx="687">
                  <c:v>146.44672540000002</c:v>
                </c:pt>
                <c:pt idx="688">
                  <c:v>146.23999007142862</c:v>
                </c:pt>
                <c:pt idx="689">
                  <c:v>144.97525592857147</c:v>
                </c:pt>
                <c:pt idx="690">
                  <c:v>143.30313147142857</c:v>
                </c:pt>
                <c:pt idx="691">
                  <c:v>142.92614342857149</c:v>
                </c:pt>
                <c:pt idx="692">
                  <c:v>229.60711670000003</c:v>
                </c:pt>
                <c:pt idx="693">
                  <c:v>225.81291439999998</c:v>
                </c:pt>
                <c:pt idx="694">
                  <c:v>222.51122869999995</c:v>
                </c:pt>
                <c:pt idx="695">
                  <c:v>219.27034752857142</c:v>
                </c:pt>
                <c:pt idx="696">
                  <c:v>215.92001828571432</c:v>
                </c:pt>
                <c:pt idx="697">
                  <c:v>211.37792037142859</c:v>
                </c:pt>
                <c:pt idx="698">
                  <c:v>206.5500411714286</c:v>
                </c:pt>
                <c:pt idx="699">
                  <c:v>118.58609245714293</c:v>
                </c:pt>
                <c:pt idx="700">
                  <c:v>121.74184720000004</c:v>
                </c:pt>
                <c:pt idx="701">
                  <c:v>125.03745241428575</c:v>
                </c:pt>
                <c:pt idx="702">
                  <c:v>128.06551778571432</c:v>
                </c:pt>
                <c:pt idx="703">
                  <c:v>131.22127265714292</c:v>
                </c:pt>
                <c:pt idx="704">
                  <c:v>137.35036872857151</c:v>
                </c:pt>
                <c:pt idx="705">
                  <c:v>142.03839745714291</c:v>
                </c:pt>
                <c:pt idx="706">
                  <c:v>143.52810822857148</c:v>
                </c:pt>
                <c:pt idx="707">
                  <c:v>144.64083108571432</c:v>
                </c:pt>
                <c:pt idx="708">
                  <c:v>145.51641621428575</c:v>
                </c:pt>
                <c:pt idx="709">
                  <c:v>146.78723069999998</c:v>
                </c:pt>
                <c:pt idx="710">
                  <c:v>246.21019225714286</c:v>
                </c:pt>
                <c:pt idx="711">
                  <c:v>439.74557165714276</c:v>
                </c:pt>
                <c:pt idx="712">
                  <c:v>541.25595358571422</c:v>
                </c:pt>
                <c:pt idx="713">
                  <c:v>474.51155014285695</c:v>
                </c:pt>
                <c:pt idx="714">
                  <c:v>477.32679957142852</c:v>
                </c:pt>
                <c:pt idx="715">
                  <c:v>479.84410689999999</c:v>
                </c:pt>
                <c:pt idx="716">
                  <c:v>482.76880452857131</c:v>
                </c:pt>
                <c:pt idx="717">
                  <c:v>485.92455941428551</c:v>
                </c:pt>
                <c:pt idx="718">
                  <c:v>579.29403048571419</c:v>
                </c:pt>
                <c:pt idx="719">
                  <c:v>583.20984195714288</c:v>
                </c:pt>
                <c:pt idx="720">
                  <c:v>675.98342869999999</c:v>
                </c:pt>
                <c:pt idx="721">
                  <c:v>678.82908052857135</c:v>
                </c:pt>
                <c:pt idx="722">
                  <c:v>681.4862383285714</c:v>
                </c:pt>
                <c:pt idx="723">
                  <c:v>682.91514472857125</c:v>
                </c:pt>
                <c:pt idx="724">
                  <c:v>682.25237540000001</c:v>
                </c:pt>
                <c:pt idx="725">
                  <c:v>590.03210991428568</c:v>
                </c:pt>
                <c:pt idx="726">
                  <c:v>584.46849591428577</c:v>
                </c:pt>
                <c:pt idx="727">
                  <c:v>492.57657478571429</c:v>
                </c:pt>
                <c:pt idx="728">
                  <c:v>491.57330014285708</c:v>
                </c:pt>
                <c:pt idx="729">
                  <c:v>491.60370240000003</c:v>
                </c:pt>
                <c:pt idx="730">
                  <c:v>492.91708010000002</c:v>
                </c:pt>
                <c:pt idx="731">
                  <c:v>497.24636235714286</c:v>
                </c:pt>
                <c:pt idx="732">
                  <c:v>501.66685124285715</c:v>
                </c:pt>
                <c:pt idx="733">
                  <c:v>508.25198118571421</c:v>
                </c:pt>
                <c:pt idx="734">
                  <c:v>512.78191828571426</c:v>
                </c:pt>
                <c:pt idx="735">
                  <c:v>516.69772974285706</c:v>
                </c:pt>
                <c:pt idx="736">
                  <c:v>519.80484092857125</c:v>
                </c:pt>
                <c:pt idx="737">
                  <c:v>521.70802262857126</c:v>
                </c:pt>
                <c:pt idx="738">
                  <c:v>521.16078184285709</c:v>
                </c:pt>
                <c:pt idx="739">
                  <c:v>519.49473787142847</c:v>
                </c:pt>
                <c:pt idx="740">
                  <c:v>515.47555881428559</c:v>
                </c:pt>
                <c:pt idx="741">
                  <c:v>510.47134641428568</c:v>
                </c:pt>
                <c:pt idx="742">
                  <c:v>505.13878951428563</c:v>
                </c:pt>
                <c:pt idx="743">
                  <c:v>499.67854325714285</c:v>
                </c:pt>
                <c:pt idx="744">
                  <c:v>494.91146842857137</c:v>
                </c:pt>
                <c:pt idx="745">
                  <c:v>491.62802418571431</c:v>
                </c:pt>
                <c:pt idx="746">
                  <c:v>490.97741581428573</c:v>
                </c:pt>
                <c:pt idx="747">
                  <c:v>492.48536801428565</c:v>
                </c:pt>
                <c:pt idx="748">
                  <c:v>495.28845661428568</c:v>
                </c:pt>
                <c:pt idx="749">
                  <c:v>498.23747602857145</c:v>
                </c:pt>
                <c:pt idx="750">
                  <c:v>501.07096688571431</c:v>
                </c:pt>
                <c:pt idx="751">
                  <c:v>503.85581420000005</c:v>
                </c:pt>
                <c:pt idx="752">
                  <c:v>506.01437477142855</c:v>
                </c:pt>
                <c:pt idx="753">
                  <c:v>506.24543187142859</c:v>
                </c:pt>
                <c:pt idx="754">
                  <c:v>506.14206414285712</c:v>
                </c:pt>
                <c:pt idx="755">
                  <c:v>505.89884608571418</c:v>
                </c:pt>
                <c:pt idx="756">
                  <c:v>506.26975365714281</c:v>
                </c:pt>
                <c:pt idx="757">
                  <c:v>507.7169012</c:v>
                </c:pt>
                <c:pt idx="758">
                  <c:v>508.88434794285723</c:v>
                </c:pt>
                <c:pt idx="759">
                  <c:v>509.95450757142856</c:v>
                </c:pt>
                <c:pt idx="760">
                  <c:v>511.41381622857142</c:v>
                </c:pt>
                <c:pt idx="761">
                  <c:v>515.2019381857142</c:v>
                </c:pt>
                <c:pt idx="762">
                  <c:v>518.43673888571436</c:v>
                </c:pt>
                <c:pt idx="763">
                  <c:v>521.17294264285715</c:v>
                </c:pt>
                <c:pt idx="764">
                  <c:v>522.88154984285723</c:v>
                </c:pt>
                <c:pt idx="765">
                  <c:v>524.71176607142854</c:v>
                </c:pt>
                <c:pt idx="766">
                  <c:v>526.85816584285715</c:v>
                </c:pt>
                <c:pt idx="767">
                  <c:v>529.5882889714286</c:v>
                </c:pt>
                <c:pt idx="768">
                  <c:v>528.07425628571434</c:v>
                </c:pt>
                <c:pt idx="769">
                  <c:v>526.85208535714287</c:v>
                </c:pt>
                <c:pt idx="770">
                  <c:v>525.54478800000004</c:v>
                </c:pt>
                <c:pt idx="771">
                  <c:v>524.23141030000011</c:v>
                </c:pt>
                <c:pt idx="772">
                  <c:v>522.89979130000006</c:v>
                </c:pt>
                <c:pt idx="773">
                  <c:v>520.90540282857148</c:v>
                </c:pt>
                <c:pt idx="774">
                  <c:v>517.69492391428571</c:v>
                </c:pt>
                <c:pt idx="775">
                  <c:v>515.51812189999998</c:v>
                </c:pt>
                <c:pt idx="776">
                  <c:v>512.80624005714276</c:v>
                </c:pt>
                <c:pt idx="777">
                  <c:v>509.62008291428572</c:v>
                </c:pt>
                <c:pt idx="778">
                  <c:v>505.89276547142856</c:v>
                </c:pt>
                <c:pt idx="779">
                  <c:v>501.97695401428564</c:v>
                </c:pt>
                <c:pt idx="780">
                  <c:v>498.04290124285717</c:v>
                </c:pt>
                <c:pt idx="781">
                  <c:v>495.15468634285713</c:v>
                </c:pt>
                <c:pt idx="782">
                  <c:v>493.43391832857145</c:v>
                </c:pt>
                <c:pt idx="783">
                  <c:v>492.10837967142845</c:v>
                </c:pt>
                <c:pt idx="784">
                  <c:v>491.51249534285711</c:v>
                </c:pt>
                <c:pt idx="785">
                  <c:v>492.32119562857139</c:v>
                </c:pt>
                <c:pt idx="786">
                  <c:v>493.01436721428576</c:v>
                </c:pt>
                <c:pt idx="787">
                  <c:v>494.13925088571426</c:v>
                </c:pt>
                <c:pt idx="788">
                  <c:v>494.64392844285709</c:v>
                </c:pt>
                <c:pt idx="789">
                  <c:v>494.34598619999997</c:v>
                </c:pt>
                <c:pt idx="790">
                  <c:v>493.90819362857144</c:v>
                </c:pt>
                <c:pt idx="791">
                  <c:v>493.85346958571427</c:v>
                </c:pt>
                <c:pt idx="792">
                  <c:v>493.23326332857141</c:v>
                </c:pt>
                <c:pt idx="793">
                  <c:v>493.2575850999998</c:v>
                </c:pt>
                <c:pt idx="794">
                  <c:v>493.59201008571421</c:v>
                </c:pt>
                <c:pt idx="795">
                  <c:v>495.45262857142859</c:v>
                </c:pt>
                <c:pt idx="796">
                  <c:v>498.82727974285712</c:v>
                </c:pt>
                <c:pt idx="797">
                  <c:v>502.75525202857153</c:v>
                </c:pt>
                <c:pt idx="798">
                  <c:v>505.8258804714286</c:v>
                </c:pt>
                <c:pt idx="799">
                  <c:v>508.7505781142857</c:v>
                </c:pt>
                <c:pt idx="800">
                  <c:v>511.24356367142843</c:v>
                </c:pt>
                <c:pt idx="801">
                  <c:v>513.45684828571427</c:v>
                </c:pt>
                <c:pt idx="802">
                  <c:v>513.6818250428571</c:v>
                </c:pt>
                <c:pt idx="803">
                  <c:v>512.25899912857153</c:v>
                </c:pt>
                <c:pt idx="804">
                  <c:v>510.5929551571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F6-4EEF-B0A5-986C6925D57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Referrals</c:v>
                </c:pt>
              </c:strCache>
            </c:strRef>
          </c:tx>
          <c:spPr>
            <a:solidFill>
              <a:schemeClr val="accent1"/>
            </a:solidFill>
            <a:ln w="12700">
              <a:solidFill>
                <a:schemeClr val="accent1"/>
              </a:solidFill>
            </a:ln>
            <a:effectLst/>
          </c:spPr>
          <c:invertIfNegative val="0"/>
          <c:cat>
            <c:numRef>
              <c:f>Sheet1!$A$2:$A$806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F$2:$F$806</c:f>
              <c:numCache>
                <c:formatCode>#,##0</c:formatCode>
                <c:ptCount val="8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2.6713242857142858E-2</c:v>
                </c:pt>
                <c:pt idx="56">
                  <c:v>0.10176878571428571</c:v>
                </c:pt>
                <c:pt idx="57">
                  <c:v>0.24243719999999999</c:v>
                </c:pt>
                <c:pt idx="58">
                  <c:v>0.4622642428571429</c:v>
                </c:pt>
                <c:pt idx="59">
                  <c:v>0.77162341428571424</c:v>
                </c:pt>
                <c:pt idx="60">
                  <c:v>1.1781969999999997</c:v>
                </c:pt>
                <c:pt idx="61">
                  <c:v>1.6873943714285713</c:v>
                </c:pt>
                <c:pt idx="62">
                  <c:v>2.2760017571428572</c:v>
                </c:pt>
                <c:pt idx="63">
                  <c:v>2.9242941571428571</c:v>
                </c:pt>
                <c:pt idx="64">
                  <c:v>3.6155816428571432</c:v>
                </c:pt>
                <c:pt idx="65">
                  <c:v>4.3358103000000003</c:v>
                </c:pt>
                <c:pt idx="66">
                  <c:v>5.0732116285714284</c:v>
                </c:pt>
                <c:pt idx="67">
                  <c:v>5.8179949285714292</c:v>
                </c:pt>
                <c:pt idx="68">
                  <c:v>6.5620773714285718</c:v>
                </c:pt>
                <c:pt idx="69">
                  <c:v>7.2988476428571429</c:v>
                </c:pt>
                <c:pt idx="70">
                  <c:v>8.0229590857142856</c:v>
                </c:pt>
                <c:pt idx="71">
                  <c:v>8.7301488714285718</c:v>
                </c:pt>
                <c:pt idx="72">
                  <c:v>9.4170801142857137</c:v>
                </c:pt>
                <c:pt idx="73">
                  <c:v>10.081204285714284</c:v>
                </c:pt>
                <c:pt idx="74">
                  <c:v>10.720641342857144</c:v>
                </c:pt>
                <c:pt idx="75">
                  <c:v>11.334075614285714</c:v>
                </c:pt>
                <c:pt idx="76">
                  <c:v>12.560630714285717</c:v>
                </c:pt>
                <c:pt idx="77">
                  <c:v>14.891311199999999</c:v>
                </c:pt>
                <c:pt idx="78">
                  <c:v>18.718118714285712</c:v>
                </c:pt>
                <c:pt idx="79">
                  <c:v>24.348448257142859</c:v>
                </c:pt>
                <c:pt idx="80">
                  <c:v>32.017641028571425</c:v>
                </c:pt>
                <c:pt idx="81">
                  <c:v>41.899914314285709</c:v>
                </c:pt>
                <c:pt idx="82">
                  <c:v>54.117863714285711</c:v>
                </c:pt>
                <c:pt idx="83">
                  <c:v>68.110744985714277</c:v>
                </c:pt>
                <c:pt idx="84">
                  <c:v>83.430099199999987</c:v>
                </c:pt>
                <c:pt idx="85">
                  <c:v>99.65551760000001</c:v>
                </c:pt>
                <c:pt idx="86">
                  <c:v>116.47069568571429</c:v>
                </c:pt>
                <c:pt idx="87">
                  <c:v>133.61132441428572</c:v>
                </c:pt>
                <c:pt idx="88">
                  <c:v>150.85805861428571</c:v>
                </c:pt>
                <c:pt idx="89">
                  <c:v>168.03035271428573</c:v>
                </c:pt>
                <c:pt idx="90">
                  <c:v>184.98106268571428</c:v>
                </c:pt>
                <c:pt idx="91">
                  <c:v>201.59172378571429</c:v>
                </c:pt>
                <c:pt idx="92">
                  <c:v>217.80965397142856</c:v>
                </c:pt>
                <c:pt idx="93">
                  <c:v>233.55917505714282</c:v>
                </c:pt>
                <c:pt idx="94">
                  <c:v>248.78256884285716</c:v>
                </c:pt>
                <c:pt idx="95">
                  <c:v>263.4373442142857</c:v>
                </c:pt>
                <c:pt idx="96">
                  <c:v>277.49386182857143</c:v>
                </c:pt>
                <c:pt idx="97">
                  <c:v>290.93327272857141</c:v>
                </c:pt>
                <c:pt idx="98">
                  <c:v>303.7457331857143</c:v>
                </c:pt>
                <c:pt idx="99">
                  <c:v>315.9288614714286</c:v>
                </c:pt>
                <c:pt idx="100">
                  <c:v>327.48640674285713</c:v>
                </c:pt>
                <c:pt idx="101">
                  <c:v>338.4271038</c:v>
                </c:pt>
                <c:pt idx="102">
                  <c:v>348.76369022857142</c:v>
                </c:pt>
                <c:pt idx="103">
                  <c:v>358.51206540000004</c:v>
                </c:pt>
                <c:pt idx="104">
                  <c:v>367.69057347142859</c:v>
                </c:pt>
                <c:pt idx="105">
                  <c:v>376.31939402857142</c:v>
                </c:pt>
                <c:pt idx="106">
                  <c:v>383.43230468571426</c:v>
                </c:pt>
                <c:pt idx="107">
                  <c:v>389.15808448571431</c:v>
                </c:pt>
                <c:pt idx="108">
                  <c:v>392.93866288571428</c:v>
                </c:pt>
                <c:pt idx="109">
                  <c:v>394.33474592857146</c:v>
                </c:pt>
                <c:pt idx="110">
                  <c:v>393.00826395714284</c:v>
                </c:pt>
                <c:pt idx="111">
                  <c:v>388.70708427142853</c:v>
                </c:pt>
                <c:pt idx="112">
                  <c:v>381.2517166714286</c:v>
                </c:pt>
                <c:pt idx="113">
                  <c:v>371.51149301428569</c:v>
                </c:pt>
                <c:pt idx="114">
                  <c:v>359.31272645714279</c:v>
                </c:pt>
                <c:pt idx="115">
                  <c:v>345.21154622857142</c:v>
                </c:pt>
                <c:pt idx="116">
                  <c:v>329.6805005428572</c:v>
                </c:pt>
                <c:pt idx="117">
                  <c:v>313.11942790000001</c:v>
                </c:pt>
                <c:pt idx="118">
                  <c:v>295.86501619999996</c:v>
                </c:pt>
                <c:pt idx="119">
                  <c:v>278.19920102857139</c:v>
                </c:pt>
                <c:pt idx="120">
                  <c:v>260.35653732857145</c:v>
                </c:pt>
                <c:pt idx="121">
                  <c:v>242.53066398571426</c:v>
                </c:pt>
                <c:pt idx="122">
                  <c:v>224.87996704285715</c:v>
                </c:pt>
                <c:pt idx="123">
                  <c:v>207.53253567142858</c:v>
                </c:pt>
                <c:pt idx="124">
                  <c:v>190.59049404285719</c:v>
                </c:pt>
                <c:pt idx="125">
                  <c:v>174.13378317142858</c:v>
                </c:pt>
                <c:pt idx="126">
                  <c:v>158.22345814285717</c:v>
                </c:pt>
                <c:pt idx="127">
                  <c:v>142.90455858571428</c:v>
                </c:pt>
                <c:pt idx="128">
                  <c:v>128.2086039142857</c:v>
                </c:pt>
                <c:pt idx="129">
                  <c:v>114.15575875714285</c:v>
                </c:pt>
                <c:pt idx="130">
                  <c:v>100.75670851428571</c:v>
                </c:pt>
                <c:pt idx="131">
                  <c:v>88.014280957142873</c:v>
                </c:pt>
                <c:pt idx="132">
                  <c:v>75.924844971428584</c:v>
                </c:pt>
                <c:pt idx="133">
                  <c:v>64.479514171428562</c:v>
                </c:pt>
                <c:pt idx="134">
                  <c:v>53.665180071428566</c:v>
                </c:pt>
                <c:pt idx="135">
                  <c:v>43.4653961</c:v>
                </c:pt>
                <c:pt idx="136">
                  <c:v>33.8611316</c:v>
                </c:pt>
                <c:pt idx="137">
                  <c:v>24.831412628571428</c:v>
                </c:pt>
                <c:pt idx="138">
                  <c:v>17.341586057142855</c:v>
                </c:pt>
                <c:pt idx="139">
                  <c:v>11.303168085714287</c:v>
                </c:pt>
                <c:pt idx="140">
                  <c:v>6.6305704857142853</c:v>
                </c:pt>
                <c:pt idx="141">
                  <c:v>3.2413507714285714</c:v>
                </c:pt>
                <c:pt idx="142">
                  <c:v>1.0563885857142856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2.6713242857142858E-2</c:v>
                </c:pt>
                <c:pt idx="176">
                  <c:v>0.10176878571428571</c:v>
                </c:pt>
                <c:pt idx="177">
                  <c:v>0.24243719999999999</c:v>
                </c:pt>
                <c:pt idx="178">
                  <c:v>0.4622642428571429</c:v>
                </c:pt>
                <c:pt idx="179">
                  <c:v>0.77162341428571424</c:v>
                </c:pt>
                <c:pt idx="180">
                  <c:v>1.1781969999999997</c:v>
                </c:pt>
                <c:pt idx="181">
                  <c:v>1.6873943714285713</c:v>
                </c:pt>
                <c:pt idx="182">
                  <c:v>2.2492885</c:v>
                </c:pt>
                <c:pt idx="183">
                  <c:v>2.8225253571428572</c:v>
                </c:pt>
                <c:pt idx="184">
                  <c:v>3.3731444285714289</c:v>
                </c:pt>
                <c:pt idx="185">
                  <c:v>3.8735460285714285</c:v>
                </c:pt>
                <c:pt idx="186">
                  <c:v>4.3015881857142864</c:v>
                </c:pt>
                <c:pt idx="187">
                  <c:v>4.6397978999999996</c:v>
                </c:pt>
                <c:pt idx="188">
                  <c:v>4.8746829571428574</c:v>
                </c:pt>
                <c:pt idx="189">
                  <c:v>5.0228458571428574</c:v>
                </c:pt>
                <c:pt idx="190">
                  <c:v>5.0986649000000002</c:v>
                </c:pt>
                <c:pt idx="191">
                  <c:v>5.1145671999999989</c:v>
                </c:pt>
                <c:pt idx="192">
                  <c:v>5.0812698142857133</c:v>
                </c:pt>
                <c:pt idx="193">
                  <c:v>5.0079926571428572</c:v>
                </c:pt>
                <c:pt idx="194">
                  <c:v>4.902646414285714</c:v>
                </c:pt>
                <c:pt idx="195">
                  <c:v>4.7719982571428563</c:v>
                </c:pt>
                <c:pt idx="196">
                  <c:v>4.62181777142857</c:v>
                </c:pt>
                <c:pt idx="197">
                  <c:v>4.4570055999999996</c:v>
                </c:pt>
                <c:pt idx="198">
                  <c:v>4.2817065285714282</c:v>
                </c:pt>
                <c:pt idx="199">
                  <c:v>4.0994089999999996</c:v>
                </c:pt>
                <c:pt idx="200">
                  <c:v>3.9130324999999995</c:v>
                </c:pt>
                <c:pt idx="201">
                  <c:v>3.7250042428571426</c:v>
                </c:pt>
                <c:pt idx="202">
                  <c:v>3.5373264</c:v>
                </c:pt>
                <c:pt idx="203">
                  <c:v>3.3516350428571431</c:v>
                </c:pt>
                <c:pt idx="204">
                  <c:v>3.1692516857142858</c:v>
                </c:pt>
                <c:pt idx="205">
                  <c:v>2.9499991428571426</c:v>
                </c:pt>
                <c:pt idx="206">
                  <c:v>2.6974193</c:v>
                </c:pt>
                <c:pt idx="207">
                  <c:v>2.4147138428571426</c:v>
                </c:pt>
                <c:pt idx="208">
                  <c:v>2.1047768714285717</c:v>
                </c:pt>
                <c:pt idx="209">
                  <c:v>1.7702245000000001</c:v>
                </c:pt>
                <c:pt idx="210">
                  <c:v>1.4134215428571431</c:v>
                </c:pt>
                <c:pt idx="211">
                  <c:v>1.0365056285714287</c:v>
                </c:pt>
                <c:pt idx="212">
                  <c:v>0.72386745714285705</c:v>
                </c:pt>
                <c:pt idx="213">
                  <c:v>0.47181357142857144</c:v>
                </c:pt>
                <c:pt idx="214">
                  <c:v>0.27677135714285717</c:v>
                </c:pt>
                <c:pt idx="215">
                  <c:v>0.13529952857142857</c:v>
                </c:pt>
                <c:pt idx="216">
                  <c:v>4.4095471428571432E-2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.63996531428571424</c:v>
                </c:pt>
                <c:pt idx="253">
                  <c:v>2.4380597714285712</c:v>
                </c:pt>
                <c:pt idx="254">
                  <c:v>5.8080320999999993</c:v>
                </c:pt>
                <c:pt idx="255">
                  <c:v>11.074396314285716</c:v>
                </c:pt>
                <c:pt idx="256">
                  <c:v>18.485668442857143</c:v>
                </c:pt>
                <c:pt idx="257">
                  <c:v>28.225892100000003</c:v>
                </c:pt>
                <c:pt idx="258">
                  <c:v>40.424658657142857</c:v>
                </c:pt>
                <c:pt idx="259">
                  <c:v>54.525838885714286</c:v>
                </c:pt>
                <c:pt idx="260">
                  <c:v>70.056884571428569</c:v>
                </c:pt>
                <c:pt idx="261">
                  <c:v>86.617957214285724</c:v>
                </c:pt>
                <c:pt idx="262">
                  <c:v>103.8723689</c:v>
                </c:pt>
                <c:pt idx="263">
                  <c:v>121.53818407142857</c:v>
                </c:pt>
                <c:pt idx="264">
                  <c:v>139.38084777142859</c:v>
                </c:pt>
                <c:pt idx="265">
                  <c:v>157.20672111428573</c:v>
                </c:pt>
                <c:pt idx="266">
                  <c:v>174.85741805714287</c:v>
                </c:pt>
                <c:pt idx="267">
                  <c:v>192.20484942857144</c:v>
                </c:pt>
                <c:pt idx="268">
                  <c:v>209.14689105714291</c:v>
                </c:pt>
                <c:pt idx="269">
                  <c:v>225.60360192857141</c:v>
                </c:pt>
                <c:pt idx="270">
                  <c:v>241.51392695714281</c:v>
                </c:pt>
                <c:pt idx="271">
                  <c:v>256.83282651428573</c:v>
                </c:pt>
                <c:pt idx="272">
                  <c:v>271.52878118571425</c:v>
                </c:pt>
                <c:pt idx="273">
                  <c:v>285.58162635714285</c:v>
                </c:pt>
                <c:pt idx="274">
                  <c:v>298.98067660000004</c:v>
                </c:pt>
                <c:pt idx="275">
                  <c:v>311.72310415714281</c:v>
                </c:pt>
                <c:pt idx="276">
                  <c:v>323.81254014285713</c:v>
                </c:pt>
                <c:pt idx="277">
                  <c:v>335.25787094285715</c:v>
                </c:pt>
                <c:pt idx="278">
                  <c:v>346.07220504285709</c:v>
                </c:pt>
                <c:pt idx="279">
                  <c:v>356.27198901428568</c:v>
                </c:pt>
                <c:pt idx="280">
                  <c:v>365.90296675714279</c:v>
                </c:pt>
                <c:pt idx="281">
                  <c:v>374.36777595714284</c:v>
                </c:pt>
                <c:pt idx="282">
                  <c:v>380.20017648571428</c:v>
                </c:pt>
                <c:pt idx="283">
                  <c:v>383.08844917142858</c:v>
                </c:pt>
                <c:pt idx="284">
                  <c:v>382.80404174285712</c:v>
                </c:pt>
                <c:pt idx="285">
                  <c:v>379.18856291428574</c:v>
                </c:pt>
                <c:pt idx="286">
                  <c:v>372.14249881428572</c:v>
                </c:pt>
                <c:pt idx="287">
                  <c:v>361.58872821428571</c:v>
                </c:pt>
                <c:pt idx="288">
                  <c:v>348.10912714285718</c:v>
                </c:pt>
                <c:pt idx="289">
                  <c:v>333.19431339999994</c:v>
                </c:pt>
                <c:pt idx="290">
                  <c:v>317.21280100000001</c:v>
                </c:pt>
                <c:pt idx="291">
                  <c:v>300.47596358571428</c:v>
                </c:pt>
                <c:pt idx="292">
                  <c:v>283.24557254285713</c:v>
                </c:pt>
                <c:pt idx="293">
                  <c:v>265.74041768571431</c:v>
                </c:pt>
                <c:pt idx="294">
                  <c:v>248.14211722857141</c:v>
                </c:pt>
                <c:pt idx="295">
                  <c:v>230.62692435714285</c:v>
                </c:pt>
                <c:pt idx="296">
                  <c:v>213.33839037142857</c:v>
                </c:pt>
                <c:pt idx="297">
                  <c:v>196.39199250000001</c:v>
                </c:pt>
                <c:pt idx="298">
                  <c:v>179.87917715714289</c:v>
                </c:pt>
                <c:pt idx="299">
                  <c:v>163.87088785714286</c:v>
                </c:pt>
                <c:pt idx="300">
                  <c:v>148.42063928571429</c:v>
                </c:pt>
                <c:pt idx="301">
                  <c:v>133.5671919714286</c:v>
                </c:pt>
                <c:pt idx="302">
                  <c:v>119.3368758142857</c:v>
                </c:pt>
                <c:pt idx="303">
                  <c:v>105.74560484285715</c:v>
                </c:pt>
                <c:pt idx="304">
                  <c:v>92.800621228571444</c:v>
                </c:pt>
                <c:pt idx="305">
                  <c:v>80.502001671428587</c:v>
                </c:pt>
                <c:pt idx="306">
                  <c:v>68.843955500000007</c:v>
                </c:pt>
                <c:pt idx="307">
                  <c:v>57.815940771428572</c:v>
                </c:pt>
                <c:pt idx="308">
                  <c:v>47.403620942857138</c:v>
                </c:pt>
                <c:pt idx="309">
                  <c:v>37.589682557142858</c:v>
                </c:pt>
                <c:pt idx="310">
                  <c:v>28.313302485714281</c:v>
                </c:pt>
                <c:pt idx="311">
                  <c:v>20.543639099999996</c:v>
                </c:pt>
                <c:pt idx="312">
                  <c:v>14.195629599999998</c:v>
                </c:pt>
                <c:pt idx="313">
                  <c:v>9.1867561428571403</c:v>
                </c:pt>
                <c:pt idx="314">
                  <c:v>5.4373316857142857</c:v>
                </c:pt>
                <c:pt idx="315">
                  <c:v>2.8707085428571419</c:v>
                </c:pt>
                <c:pt idx="316">
                  <c:v>1.4134215428571431</c:v>
                </c:pt>
                <c:pt idx="317">
                  <c:v>1.0365056285714287</c:v>
                </c:pt>
                <c:pt idx="318">
                  <c:v>0.72386745714285705</c:v>
                </c:pt>
                <c:pt idx="319">
                  <c:v>0.47181357142857144</c:v>
                </c:pt>
                <c:pt idx="320">
                  <c:v>0.27677135714285717</c:v>
                </c:pt>
                <c:pt idx="321">
                  <c:v>0.13529952857142857</c:v>
                </c:pt>
                <c:pt idx="322">
                  <c:v>4.4095471428571432E-2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.41631861428571426</c:v>
                </c:pt>
                <c:pt idx="386">
                  <c:v>1.1697199285714284</c:v>
                </c:pt>
                <c:pt idx="387">
                  <c:v>2.1922784714285712</c:v>
                </c:pt>
                <c:pt idx="388">
                  <c:v>3.4259441142857137</c:v>
                </c:pt>
                <c:pt idx="389">
                  <c:v>4.8212776571428568</c:v>
                </c:pt>
                <c:pt idx="390">
                  <c:v>6.3363376571428569</c:v>
                </c:pt>
                <c:pt idx="391">
                  <c:v>7.9357011428571429</c:v>
                </c:pt>
                <c:pt idx="392">
                  <c:v>9.1732841571428576</c:v>
                </c:pt>
                <c:pt idx="393">
                  <c:v>10.103458928571428</c:v>
                </c:pt>
                <c:pt idx="394">
                  <c:v>10.773525542857143</c:v>
                </c:pt>
                <c:pt idx="395">
                  <c:v>11.224565528571429</c:v>
                </c:pt>
                <c:pt idx="396">
                  <c:v>11.492197099999998</c:v>
                </c:pt>
                <c:pt idx="397">
                  <c:v>11.607242914285715</c:v>
                </c:pt>
                <c:pt idx="398">
                  <c:v>11.596320228571431</c:v>
                </c:pt>
                <c:pt idx="399">
                  <c:v>11.482362171428573</c:v>
                </c:pt>
                <c:pt idx="400">
                  <c:v>11.285077885714285</c:v>
                </c:pt>
                <c:pt idx="401">
                  <c:v>14.805662057142857</c:v>
                </c:pt>
                <c:pt idx="402">
                  <c:v>21.338297342857143</c:v>
                </c:pt>
                <c:pt idx="403">
                  <c:v>30.277832514285709</c:v>
                </c:pt>
                <c:pt idx="404">
                  <c:v>41.107014942857141</c:v>
                </c:pt>
                <c:pt idx="405">
                  <c:v>53.385241514285717</c:v>
                </c:pt>
                <c:pt idx="406">
                  <c:v>66.73865450000001</c:v>
                </c:pt>
                <c:pt idx="407">
                  <c:v>80.851428257142871</c:v>
                </c:pt>
                <c:pt idx="408">
                  <c:v>91.673806314285713</c:v>
                </c:pt>
                <c:pt idx="409">
                  <c:v>99.704229671428578</c:v>
                </c:pt>
                <c:pt idx="410">
                  <c:v>105.37607100000001</c:v>
                </c:pt>
                <c:pt idx="411">
                  <c:v>109.06550497142858</c:v>
                </c:pt>
                <c:pt idx="412">
                  <c:v>111.09846987142858</c:v>
                </c:pt>
                <c:pt idx="413">
                  <c:v>111.75682222857144</c:v>
                </c:pt>
                <c:pt idx="414">
                  <c:v>112.39894261428573</c:v>
                </c:pt>
                <c:pt idx="415">
                  <c:v>112.37941261428571</c:v>
                </c:pt>
                <c:pt idx="416">
                  <c:v>112.38099061428569</c:v>
                </c:pt>
                <c:pt idx="417">
                  <c:v>112.39983608571427</c:v>
                </c:pt>
                <c:pt idx="418">
                  <c:v>112.43264830000001</c:v>
                </c:pt>
                <c:pt idx="419">
                  <c:v>112.47659835714286</c:v>
                </c:pt>
                <c:pt idx="420">
                  <c:v>112.52926932857143</c:v>
                </c:pt>
                <c:pt idx="421">
                  <c:v>111.47343581428571</c:v>
                </c:pt>
                <c:pt idx="422">
                  <c:v>110.16214290000001</c:v>
                </c:pt>
                <c:pt idx="423">
                  <c:v>108.09092784285716</c:v>
                </c:pt>
                <c:pt idx="424">
                  <c:v>105.41629789999999</c:v>
                </c:pt>
                <c:pt idx="425">
                  <c:v>102.27185487142856</c:v>
                </c:pt>
                <c:pt idx="426">
                  <c:v>98.771237242857154</c:v>
                </c:pt>
                <c:pt idx="427">
                  <c:v>95.010709800000001</c:v>
                </c:pt>
                <c:pt idx="428">
                  <c:v>91.071441228571416</c:v>
                </c:pt>
                <c:pt idx="429">
                  <c:v>87.021505500000004</c:v>
                </c:pt>
                <c:pt idx="430">
                  <c:v>82.917639028571415</c:v>
                </c:pt>
                <c:pt idx="431">
                  <c:v>72.966091242857132</c:v>
                </c:pt>
                <c:pt idx="432">
                  <c:v>63.431383085714288</c:v>
                </c:pt>
                <c:pt idx="433">
                  <c:v>54.324299871428572</c:v>
                </c:pt>
                <c:pt idx="434">
                  <c:v>45.649799328571426</c:v>
                </c:pt>
                <c:pt idx="435">
                  <c:v>38.262548842857143</c:v>
                </c:pt>
                <c:pt idx="436">
                  <c:v>31.996107885714284</c:v>
                </c:pt>
                <c:pt idx="437">
                  <c:v>26.704056542857142</c:v>
                </c:pt>
                <c:pt idx="438">
                  <c:v>28.098383142857148</c:v>
                </c:pt>
                <c:pt idx="439">
                  <c:v>29.840030328571427</c:v>
                </c:pt>
                <c:pt idx="440">
                  <c:v>31.850267342857141</c:v>
                </c:pt>
                <c:pt idx="441">
                  <c:v>34.062202585714282</c:v>
                </c:pt>
                <c:pt idx="442">
                  <c:v>35.564717514285711</c:v>
                </c:pt>
                <c:pt idx="443">
                  <c:v>36.472801571428576</c:v>
                </c:pt>
                <c:pt idx="444">
                  <c:v>35.164834585714281</c:v>
                </c:pt>
                <c:pt idx="445">
                  <c:v>33.561485628571425</c:v>
                </c:pt>
                <c:pt idx="446">
                  <c:v>31.730818128571425</c:v>
                </c:pt>
                <c:pt idx="447">
                  <c:v>29.73061634285714</c:v>
                </c:pt>
                <c:pt idx="448">
                  <c:v>27.609725271428569</c:v>
                </c:pt>
                <c:pt idx="449">
                  <c:v>25.409228785714284</c:v>
                </c:pt>
                <c:pt idx="450">
                  <c:v>23.163484414285712</c:v>
                </c:pt>
                <c:pt idx="451">
                  <c:v>22.622180128571426</c:v>
                </c:pt>
                <c:pt idx="452">
                  <c:v>21.974133071428572</c:v>
                </c:pt>
                <c:pt idx="453">
                  <c:v>21.244561099999999</c:v>
                </c:pt>
                <c:pt idx="454">
                  <c:v>20.454849099999997</c:v>
                </c:pt>
                <c:pt idx="455">
                  <c:v>19.623050185714284</c:v>
                </c:pt>
                <c:pt idx="456">
                  <c:v>18.76432612857143</c:v>
                </c:pt>
                <c:pt idx="457">
                  <c:v>18.441634857142855</c:v>
                </c:pt>
                <c:pt idx="458">
                  <c:v>18.560732385714285</c:v>
                </c:pt>
                <c:pt idx="459">
                  <c:v>19.040457442857143</c:v>
                </c:pt>
                <c:pt idx="460">
                  <c:v>19.811095014285716</c:v>
                </c:pt>
                <c:pt idx="461">
                  <c:v>20.812932771428567</c:v>
                </c:pt>
                <c:pt idx="462">
                  <c:v>22.060993500000002</c:v>
                </c:pt>
                <c:pt idx="463">
                  <c:v>25.220593571428573</c:v>
                </c:pt>
                <c:pt idx="464">
                  <c:v>29.3663159</c:v>
                </c:pt>
                <c:pt idx="465">
                  <c:v>32.962989271428562</c:v>
                </c:pt>
                <c:pt idx="466">
                  <c:v>37.232439271428568</c:v>
                </c:pt>
                <c:pt idx="467">
                  <c:v>42.01404841428571</c:v>
                </c:pt>
                <c:pt idx="468">
                  <c:v>47.171676142857144</c:v>
                </c:pt>
                <c:pt idx="469">
                  <c:v>52.524449971428574</c:v>
                </c:pt>
                <c:pt idx="470">
                  <c:v>56.267270271428572</c:v>
                </c:pt>
                <c:pt idx="471">
                  <c:v>58.658077442857142</c:v>
                </c:pt>
                <c:pt idx="472">
                  <c:v>61.239173214285714</c:v>
                </c:pt>
                <c:pt idx="473">
                  <c:v>62.797818842857147</c:v>
                </c:pt>
                <c:pt idx="474">
                  <c:v>63.505238114285717</c:v>
                </c:pt>
                <c:pt idx="475">
                  <c:v>63.509325857142862</c:v>
                </c:pt>
                <c:pt idx="476">
                  <c:v>62.937537428571439</c:v>
                </c:pt>
                <c:pt idx="477">
                  <c:v>61.899439542857145</c:v>
                </c:pt>
                <c:pt idx="478">
                  <c:v>60.488960700000007</c:v>
                </c:pt>
                <c:pt idx="479">
                  <c:v>58.786375271428575</c:v>
                </c:pt>
                <c:pt idx="480">
                  <c:v>56.860051685714282</c:v>
                </c:pt>
                <c:pt idx="481">
                  <c:v>54.767991414285724</c:v>
                </c:pt>
                <c:pt idx="482">
                  <c:v>52.559182957142866</c:v>
                </c:pt>
                <c:pt idx="483">
                  <c:v>50.274791942857156</c:v>
                </c:pt>
                <c:pt idx="484">
                  <c:v>47.949206428571429</c:v>
                </c:pt>
                <c:pt idx="485">
                  <c:v>45.610954</c:v>
                </c:pt>
                <c:pt idx="486">
                  <c:v>43.283505842857139</c:v>
                </c:pt>
                <c:pt idx="487">
                  <c:v>40.136646985714286</c:v>
                </c:pt>
                <c:pt idx="488">
                  <c:v>37.091127328571424</c:v>
                </c:pt>
                <c:pt idx="489">
                  <c:v>34.156157171428568</c:v>
                </c:pt>
                <c:pt idx="490">
                  <c:v>31.338276128571426</c:v>
                </c:pt>
                <c:pt idx="491">
                  <c:v>28.641778042857144</c:v>
                </c:pt>
                <c:pt idx="492">
                  <c:v>25.967207400000003</c:v>
                </c:pt>
                <c:pt idx="493">
                  <c:v>20.767436185714285</c:v>
                </c:pt>
                <c:pt idx="494">
                  <c:v>16.722857999999999</c:v>
                </c:pt>
                <c:pt idx="495">
                  <c:v>12.916980985714286</c:v>
                </c:pt>
                <c:pt idx="496">
                  <c:v>9.341001657142856</c:v>
                </c:pt>
                <c:pt idx="497">
                  <c:v>5.9856304285714277</c:v>
                </c:pt>
                <c:pt idx="498">
                  <c:v>2.8412637857142857</c:v>
                </c:pt>
                <c:pt idx="499">
                  <c:v>0</c:v>
                </c:pt>
                <c:pt idx="500">
                  <c:v>7.3342857142857142E-5</c:v>
                </c:pt>
                <c:pt idx="501">
                  <c:v>2.0607142857142856E-4</c:v>
                </c:pt>
                <c:pt idx="502">
                  <c:v>3.8622857142857142E-4</c:v>
                </c:pt>
                <c:pt idx="503">
                  <c:v>6.7517142857142858E-4</c:v>
                </c:pt>
                <c:pt idx="504">
                  <c:v>1.0505714285714285E-3</c:v>
                </c:pt>
                <c:pt idx="505">
                  <c:v>1.4933571428571428E-3</c:v>
                </c:pt>
                <c:pt idx="506">
                  <c:v>1.9873E-3</c:v>
                </c:pt>
                <c:pt idx="507">
                  <c:v>2.4453142857142856E-3</c:v>
                </c:pt>
                <c:pt idx="508">
                  <c:v>2.8697571428571429E-3</c:v>
                </c:pt>
                <c:pt idx="509">
                  <c:v>3.2628714285714284E-3</c:v>
                </c:pt>
                <c:pt idx="510">
                  <c:v>3.5551714285714281E-3</c:v>
                </c:pt>
                <c:pt idx="511">
                  <c:v>3.7622999999999997E-3</c:v>
                </c:pt>
                <c:pt idx="512">
                  <c:v>3.8977999999999999E-3</c:v>
                </c:pt>
                <c:pt idx="513">
                  <c:v>3.9734428571428573E-3</c:v>
                </c:pt>
                <c:pt idx="514">
                  <c:v>3.9993857142857142E-3</c:v>
                </c:pt>
                <c:pt idx="515">
                  <c:v>3.9844142857142859E-3</c:v>
                </c:pt>
                <c:pt idx="516">
                  <c:v>3.9360714285714294E-3</c:v>
                </c:pt>
                <c:pt idx="517">
                  <c:v>3.8608571428571429E-3</c:v>
                </c:pt>
                <c:pt idx="518">
                  <c:v>3.7642999999999995E-3</c:v>
                </c:pt>
                <c:pt idx="519">
                  <c:v>3.6511714285714287E-3</c:v>
                </c:pt>
                <c:pt idx="520">
                  <c:v>3.5254857142857144E-3</c:v>
                </c:pt>
                <c:pt idx="521">
                  <c:v>3.3906571428571433E-3</c:v>
                </c:pt>
                <c:pt idx="522">
                  <c:v>3.2495571428571425E-3</c:v>
                </c:pt>
                <c:pt idx="523">
                  <c:v>3.1045999999999999E-3</c:v>
                </c:pt>
                <c:pt idx="524">
                  <c:v>2.9578142857142856E-3</c:v>
                </c:pt>
                <c:pt idx="525">
                  <c:v>2.8108428571428572E-3</c:v>
                </c:pt>
                <c:pt idx="526">
                  <c:v>2.6650571428571425E-3</c:v>
                </c:pt>
                <c:pt idx="527">
                  <c:v>2.5215571428571426E-3</c:v>
                </c:pt>
                <c:pt idx="528">
                  <c:v>2.3812428571428567E-3</c:v>
                </c:pt>
                <c:pt idx="529">
                  <c:v>2.2448000000000004E-3</c:v>
                </c:pt>
                <c:pt idx="530">
                  <c:v>1.9995571428571431E-3</c:v>
                </c:pt>
                <c:pt idx="531">
                  <c:v>1.7665857142857143E-3</c:v>
                </c:pt>
                <c:pt idx="532">
                  <c:v>1.5457714285714284E-3</c:v>
                </c:pt>
                <c:pt idx="533">
                  <c:v>1.2264000000000001E-3</c:v>
                </c:pt>
                <c:pt idx="534">
                  <c:v>9.2599999999999996E-4</c:v>
                </c:pt>
                <c:pt idx="535">
                  <c:v>6.4384285714285706E-4</c:v>
                </c:pt>
                <c:pt idx="536">
                  <c:v>3.7918571428571427E-4</c:v>
                </c:pt>
                <c:pt idx="537">
                  <c:v>2.4445714285714284E-4</c:v>
                </c:pt>
                <c:pt idx="538">
                  <c:v>1.1818571428571428E-4</c:v>
                </c:pt>
                <c:pt idx="539">
                  <c:v>0</c:v>
                </c:pt>
                <c:pt idx="540">
                  <c:v>3.4458902142857144</c:v>
                </c:pt>
                <c:pt idx="541">
                  <c:v>9.6818310285714269</c:v>
                </c:pt>
                <c:pt idx="542">
                  <c:v>18.145599900000001</c:v>
                </c:pt>
                <c:pt idx="543">
                  <c:v>28.356712942857143</c:v>
                </c:pt>
                <c:pt idx="544">
                  <c:v>39.90595938571429</c:v>
                </c:pt>
                <c:pt idx="545">
                  <c:v>52.446187785714287</c:v>
                </c:pt>
                <c:pt idx="546">
                  <c:v>65.684200328571436</c:v>
                </c:pt>
                <c:pt idx="547">
                  <c:v>75.927737642857139</c:v>
                </c:pt>
                <c:pt idx="548">
                  <c:v>83.626841371428583</c:v>
                </c:pt>
                <c:pt idx="549">
                  <c:v>89.173016628571446</c:v>
                </c:pt>
                <c:pt idx="550">
                  <c:v>92.90629742857142</c:v>
                </c:pt>
                <c:pt idx="551">
                  <c:v>95.121497514285707</c:v>
                </c:pt>
                <c:pt idx="552">
                  <c:v>96.073737557142849</c:v>
                </c:pt>
                <c:pt idx="553">
                  <c:v>95.983329971428574</c:v>
                </c:pt>
                <c:pt idx="554">
                  <c:v>97.247822442857142</c:v>
                </c:pt>
                <c:pt idx="555">
                  <c:v>99.610162099999997</c:v>
                </c:pt>
                <c:pt idx="556">
                  <c:v>102.8499498857143</c:v>
                </c:pt>
                <c:pt idx="557">
                  <c:v>106.77879215714286</c:v>
                </c:pt>
                <c:pt idx="558">
                  <c:v>111.23620528571428</c:v>
                </c:pt>
                <c:pt idx="559">
                  <c:v>116.08600965714287</c:v>
                </c:pt>
                <c:pt idx="560">
                  <c:v>121.21315735714286</c:v>
                </c:pt>
                <c:pt idx="561">
                  <c:v>124.31321455714286</c:v>
                </c:pt>
                <c:pt idx="562">
                  <c:v>125.72555657142857</c:v>
                </c:pt>
                <c:pt idx="563">
                  <c:v>125.7433242</c:v>
                </c:pt>
                <c:pt idx="564">
                  <c:v>124.61915</c:v>
                </c:pt>
                <c:pt idx="565">
                  <c:v>122.57021332857141</c:v>
                </c:pt>
                <c:pt idx="566">
                  <c:v>119.78270018571428</c:v>
                </c:pt>
                <c:pt idx="567">
                  <c:v>116.41573527142859</c:v>
                </c:pt>
                <c:pt idx="568">
                  <c:v>112.60484629999999</c:v>
                </c:pt>
                <c:pt idx="569">
                  <c:v>108.46501418571428</c:v>
                </c:pt>
                <c:pt idx="570">
                  <c:v>98.774972214285725</c:v>
                </c:pt>
                <c:pt idx="571">
                  <c:v>89.285593157142856</c:v>
                </c:pt>
                <c:pt idx="572">
                  <c:v>80.046438014285712</c:v>
                </c:pt>
                <c:pt idx="573">
                  <c:v>71.095817928571435</c:v>
                </c:pt>
                <c:pt idx="574">
                  <c:v>62.462486414285713</c:v>
                </c:pt>
                <c:pt idx="575">
                  <c:v>54.16711157142857</c:v>
                </c:pt>
                <c:pt idx="576">
                  <c:v>46.223554428571433</c:v>
                </c:pt>
                <c:pt idx="577">
                  <c:v>43.958361428571436</c:v>
                </c:pt>
                <c:pt idx="578">
                  <c:v>41.705694985714288</c:v>
                </c:pt>
                <c:pt idx="579">
                  <c:v>39.483684385714291</c:v>
                </c:pt>
                <c:pt idx="580">
                  <c:v>37.306894985714287</c:v>
                </c:pt>
                <c:pt idx="581">
                  <c:v>35.186842428571424</c:v>
                </c:pt>
                <c:pt idx="582">
                  <c:v>33.132441071428566</c:v>
                </c:pt>
                <c:pt idx="583">
                  <c:v>31.150394885714281</c:v>
                </c:pt>
                <c:pt idx="584">
                  <c:v>25.83813031428571</c:v>
                </c:pt>
                <c:pt idx="585">
                  <c:v>20.831113899999998</c:v>
                </c:pt>
                <c:pt idx="586">
                  <c:v>16.119356657142855</c:v>
                </c:pt>
                <c:pt idx="587">
                  <c:v>11.692006471428572</c:v>
                </c:pt>
                <c:pt idx="588">
                  <c:v>8.0007824857142857</c:v>
                </c:pt>
                <c:pt idx="589">
                  <c:v>4.9456750857142859</c:v>
                </c:pt>
                <c:pt idx="590">
                  <c:v>2.4390426714285711</c:v>
                </c:pt>
                <c:pt idx="591">
                  <c:v>3.811570471428571</c:v>
                </c:pt>
                <c:pt idx="592">
                  <c:v>5.3639636142857139</c:v>
                </c:pt>
                <c:pt idx="593">
                  <c:v>7.0495596999999988</c:v>
                </c:pt>
                <c:pt idx="594">
                  <c:v>8.8289485142857131</c:v>
                </c:pt>
                <c:pt idx="595">
                  <c:v>10.205834628571427</c:v>
                </c:pt>
                <c:pt idx="596">
                  <c:v>11.240710442857141</c:v>
                </c:pt>
                <c:pt idx="597">
                  <c:v>11.986200157142857</c:v>
                </c:pt>
                <c:pt idx="598">
                  <c:v>12.488009485714285</c:v>
                </c:pt>
                <c:pt idx="599">
                  <c:v>12.785765842857144</c:v>
                </c:pt>
                <c:pt idx="600">
                  <c:v>12.913761285714285</c:v>
                </c:pt>
                <c:pt idx="601">
                  <c:v>12.901609142857142</c:v>
                </c:pt>
                <c:pt idx="602">
                  <c:v>13.568818285714286</c:v>
                </c:pt>
                <c:pt idx="603">
                  <c:v>14.786199214285713</c:v>
                </c:pt>
                <c:pt idx="604">
                  <c:v>16.442998214285716</c:v>
                </c:pt>
                <c:pt idx="605">
                  <c:v>18.444558457142854</c:v>
                </c:pt>
                <c:pt idx="606">
                  <c:v>20.710259357142856</c:v>
                </c:pt>
                <c:pt idx="607">
                  <c:v>23.171702357142856</c:v>
                </c:pt>
                <c:pt idx="608">
                  <c:v>25.771114799999999</c:v>
                </c:pt>
                <c:pt idx="609">
                  <c:v>27.665952642857143</c:v>
                </c:pt>
                <c:pt idx="610">
                  <c:v>28.966774085714285</c:v>
                </c:pt>
                <c:pt idx="611">
                  <c:v>29.7694759</c:v>
                </c:pt>
                <c:pt idx="612">
                  <c:v>30.157082657142862</c:v>
                </c:pt>
                <c:pt idx="613">
                  <c:v>30.201328200000003</c:v>
                </c:pt>
                <c:pt idx="614">
                  <c:v>29.964052657142862</c:v>
                </c:pt>
                <c:pt idx="615">
                  <c:v>29.498435900000004</c:v>
                </c:pt>
                <c:pt idx="616">
                  <c:v>28.85008575714286</c:v>
                </c:pt>
                <c:pt idx="617">
                  <c:v>28.057997571428569</c:v>
                </c:pt>
                <c:pt idx="618">
                  <c:v>26.440528599999997</c:v>
                </c:pt>
                <c:pt idx="619">
                  <c:v>24.787918914285711</c:v>
                </c:pt>
                <c:pt idx="620">
                  <c:v>23.121504342857143</c:v>
                </c:pt>
                <c:pt idx="621">
                  <c:v>21.458878214285715</c:v>
                </c:pt>
                <c:pt idx="622">
                  <c:v>19.814410399999996</c:v>
                </c:pt>
                <c:pt idx="623">
                  <c:v>18.1997015</c:v>
                </c:pt>
                <c:pt idx="624">
                  <c:v>16.623979828571429</c:v>
                </c:pt>
                <c:pt idx="625">
                  <c:v>15.809318914285713</c:v>
                </c:pt>
                <c:pt idx="626">
                  <c:v>14.999163100000001</c:v>
                </c:pt>
                <c:pt idx="627">
                  <c:v>14.200032442857145</c:v>
                </c:pt>
                <c:pt idx="628">
                  <c:v>13.417165285714288</c:v>
                </c:pt>
                <c:pt idx="629">
                  <c:v>12.654703128571429</c:v>
                </c:pt>
                <c:pt idx="630">
                  <c:v>11.91585197142857</c:v>
                </c:pt>
                <c:pt idx="631">
                  <c:v>11.203022842857143</c:v>
                </c:pt>
                <c:pt idx="632">
                  <c:v>9.2925038428571423</c:v>
                </c:pt>
                <c:pt idx="633">
                  <c:v>7.4917652142857145</c:v>
                </c:pt>
                <c:pt idx="634">
                  <c:v>6.8837457142857144</c:v>
                </c:pt>
                <c:pt idx="635">
                  <c:v>7.2577482142857139</c:v>
                </c:pt>
                <c:pt idx="636">
                  <c:v>8.432375385714284</c:v>
                </c:pt>
                <c:pt idx="637">
                  <c:v>10.251861285714286</c:v>
                </c:pt>
                <c:pt idx="638">
                  <c:v>12.582835728571428</c:v>
                </c:pt>
                <c:pt idx="639">
                  <c:v>16.536922699999998</c:v>
                </c:pt>
                <c:pt idx="640">
                  <c:v>20.711029528571427</c:v>
                </c:pt>
                <c:pt idx="641">
                  <c:v>23.940941785714283</c:v>
                </c:pt>
                <c:pt idx="642">
                  <c:v>26.368563099999999</c:v>
                </c:pt>
                <c:pt idx="643">
                  <c:v>28.117339814285714</c:v>
                </c:pt>
                <c:pt idx="644">
                  <c:v>29.2944888</c:v>
                </c:pt>
                <c:pt idx="645">
                  <c:v>29.992968414285713</c:v>
                </c:pt>
                <c:pt idx="646">
                  <c:v>30.293221314285713</c:v>
                </c:pt>
                <c:pt idx="647">
                  <c:v>30.264714700000003</c:v>
                </c:pt>
                <c:pt idx="648">
                  <c:v>29.967300714285717</c:v>
                </c:pt>
                <c:pt idx="649">
                  <c:v>29.452417357142856</c:v>
                </c:pt>
                <c:pt idx="650">
                  <c:v>28.764147871428573</c:v>
                </c:pt>
                <c:pt idx="651">
                  <c:v>27.940154728571429</c:v>
                </c:pt>
                <c:pt idx="652">
                  <c:v>27.012502485714286</c:v>
                </c:pt>
                <c:pt idx="653">
                  <c:v>26.008382085714288</c:v>
                </c:pt>
                <c:pt idx="654">
                  <c:v>24.950748085714288</c:v>
                </c:pt>
                <c:pt idx="655">
                  <c:v>23.858878699999998</c:v>
                </c:pt>
                <c:pt idx="656">
                  <c:v>22.748867628571428</c:v>
                </c:pt>
                <c:pt idx="657">
                  <c:v>21.634055571428572</c:v>
                </c:pt>
                <c:pt idx="658">
                  <c:v>20.525408442857145</c:v>
                </c:pt>
                <c:pt idx="659">
                  <c:v>19.431848542857143</c:v>
                </c:pt>
                <c:pt idx="660">
                  <c:v>18.360544228571428</c:v>
                </c:pt>
                <c:pt idx="661">
                  <c:v>17.317162871428572</c:v>
                </c:pt>
                <c:pt idx="662">
                  <c:v>16.306091685714286</c:v>
                </c:pt>
                <c:pt idx="663">
                  <c:v>15.330629985714285</c:v>
                </c:pt>
                <c:pt idx="664">
                  <c:v>12.716205257142859</c:v>
                </c:pt>
                <c:pt idx="665">
                  <c:v>10.252008057142858</c:v>
                </c:pt>
                <c:pt idx="666">
                  <c:v>7.9331223142857139</c:v>
                </c:pt>
                <c:pt idx="667">
                  <c:v>5.754207157142857</c:v>
                </c:pt>
                <c:pt idx="668">
                  <c:v>23.063736314285713</c:v>
                </c:pt>
                <c:pt idx="669">
                  <c:v>56.172300499999999</c:v>
                </c:pt>
                <c:pt idx="670">
                  <c:v>101.91619214285713</c:v>
                </c:pt>
                <c:pt idx="671">
                  <c:v>159.26771337142856</c:v>
                </c:pt>
                <c:pt idx="672">
                  <c:v>224.13496635714287</c:v>
                </c:pt>
                <c:pt idx="673">
                  <c:v>294.56814759999997</c:v>
                </c:pt>
                <c:pt idx="674">
                  <c:v>368.92048844285716</c:v>
                </c:pt>
                <c:pt idx="675">
                  <c:v>426.45412312857144</c:v>
                </c:pt>
                <c:pt idx="676">
                  <c:v>469.69674604285717</c:v>
                </c:pt>
                <c:pt idx="677">
                  <c:v>500.84727650000002</c:v>
                </c:pt>
                <c:pt idx="678">
                  <c:v>521.81554239999991</c:v>
                </c:pt>
                <c:pt idx="679">
                  <c:v>534.25738828571423</c:v>
                </c:pt>
                <c:pt idx="680">
                  <c:v>539.60571957142861</c:v>
                </c:pt>
                <c:pt idx="681">
                  <c:v>539.0979382571428</c:v>
                </c:pt>
                <c:pt idx="682">
                  <c:v>533.80017588571434</c:v>
                </c:pt>
                <c:pt idx="683">
                  <c:v>524.62868481428575</c:v>
                </c:pt>
                <c:pt idx="684">
                  <c:v>512.36870920000001</c:v>
                </c:pt>
                <c:pt idx="685">
                  <c:v>497.69112162857135</c:v>
                </c:pt>
                <c:pt idx="686">
                  <c:v>481.16707979999995</c:v>
                </c:pt>
                <c:pt idx="687">
                  <c:v>463.28092945714286</c:v>
                </c:pt>
                <c:pt idx="688">
                  <c:v>444.44155447142856</c:v>
                </c:pt>
                <c:pt idx="689">
                  <c:v>424.9923529714286</c:v>
                </c:pt>
                <c:pt idx="690">
                  <c:v>405.21999811428566</c:v>
                </c:pt>
                <c:pt idx="691">
                  <c:v>385.36212445714284</c:v>
                </c:pt>
                <c:pt idx="692">
                  <c:v>365.61406517142854</c:v>
                </c:pt>
                <c:pt idx="693">
                  <c:v>346.13475109999996</c:v>
                </c:pt>
                <c:pt idx="694">
                  <c:v>327.0518700428571</c:v>
                </c:pt>
                <c:pt idx="695">
                  <c:v>308.46637385714286</c:v>
                </c:pt>
                <c:pt idx="696">
                  <c:v>296.21774101428571</c:v>
                </c:pt>
                <c:pt idx="697">
                  <c:v>289.28193595714282</c:v>
                </c:pt>
                <c:pt idx="698">
                  <c:v>256.93193207142855</c:v>
                </c:pt>
                <c:pt idx="699">
                  <c:v>230.31238425714284</c:v>
                </c:pt>
                <c:pt idx="700">
                  <c:v>208.76644920000004</c:v>
                </c:pt>
                <c:pt idx="701">
                  <c:v>191.76794781428566</c:v>
                </c:pt>
                <c:pt idx="702">
                  <c:v>178.90448305714287</c:v>
                </c:pt>
                <c:pt idx="703">
                  <c:v>164.09899058571429</c:v>
                </c:pt>
                <c:pt idx="704">
                  <c:v>148.19858954285715</c:v>
                </c:pt>
                <c:pt idx="705">
                  <c:v>161.80143409999999</c:v>
                </c:pt>
                <c:pt idx="706">
                  <c:v>173.6703579</c:v>
                </c:pt>
                <c:pt idx="707">
                  <c:v>184.39554707142858</c:v>
                </c:pt>
                <c:pt idx="708">
                  <c:v>194.45316957142859</c:v>
                </c:pt>
                <c:pt idx="709">
                  <c:v>204.21438804285714</c:v>
                </c:pt>
                <c:pt idx="710">
                  <c:v>213.95592827142855</c:v>
                </c:pt>
                <c:pt idx="711">
                  <c:v>223.87140104285712</c:v>
                </c:pt>
                <c:pt idx="712">
                  <c:v>234.08278041428571</c:v>
                </c:pt>
                <c:pt idx="713">
                  <c:v>244.65160571428572</c:v>
                </c:pt>
                <c:pt idx="714">
                  <c:v>255.58960407142857</c:v>
                </c:pt>
                <c:pt idx="715">
                  <c:v>266.8685331142857</c:v>
                </c:pt>
                <c:pt idx="716">
                  <c:v>278.42912221428571</c:v>
                </c:pt>
                <c:pt idx="717">
                  <c:v>290.18905171428571</c:v>
                </c:pt>
                <c:pt idx="718">
                  <c:v>302.04995498571435</c:v>
                </c:pt>
                <c:pt idx="719">
                  <c:v>313.90346162857139</c:v>
                </c:pt>
                <c:pt idx="720">
                  <c:v>325.63632444285713</c:v>
                </c:pt>
                <c:pt idx="721">
                  <c:v>337.13468852857147</c:v>
                </c:pt>
                <c:pt idx="722">
                  <c:v>348.28757152857145</c:v>
                </c:pt>
                <c:pt idx="723">
                  <c:v>358.98962934285709</c:v>
                </c:pt>
                <c:pt idx="724">
                  <c:v>387.4973159428572</c:v>
                </c:pt>
                <c:pt idx="725">
                  <c:v>430.22915088571426</c:v>
                </c:pt>
                <c:pt idx="726">
                  <c:v>425.42234937142854</c:v>
                </c:pt>
                <c:pt idx="727">
                  <c:v>428.36515038571423</c:v>
                </c:pt>
                <c:pt idx="728">
                  <c:v>436.95916881428565</c:v>
                </c:pt>
                <c:pt idx="729">
                  <c:v>449.44945344285713</c:v>
                </c:pt>
                <c:pt idx="730">
                  <c:v>464.37970887142859</c:v>
                </c:pt>
                <c:pt idx="731">
                  <c:v>462.19863357142862</c:v>
                </c:pt>
                <c:pt idx="732">
                  <c:v>445.42618237142864</c:v>
                </c:pt>
                <c:pt idx="733">
                  <c:v>474.96707652857145</c:v>
                </c:pt>
                <c:pt idx="734">
                  <c:v>494.85185262857146</c:v>
                </c:pt>
                <c:pt idx="735">
                  <c:v>506.65079302857146</c:v>
                </c:pt>
                <c:pt idx="736">
                  <c:v>511.72276085714287</c:v>
                </c:pt>
                <c:pt idx="737">
                  <c:v>511.24121804285716</c:v>
                </c:pt>
                <c:pt idx="738">
                  <c:v>506.2172061</c:v>
                </c:pt>
                <c:pt idx="739">
                  <c:v>497.51963201428578</c:v>
                </c:pt>
                <c:pt idx="740">
                  <c:v>485.89316414285713</c:v>
                </c:pt>
                <c:pt idx="741">
                  <c:v>471.97400917142852</c:v>
                </c:pt>
                <c:pt idx="742">
                  <c:v>456.30381148571422</c:v>
                </c:pt>
                <c:pt idx="743">
                  <c:v>439.34188928571427</c:v>
                </c:pt>
                <c:pt idx="744">
                  <c:v>421.47599825714281</c:v>
                </c:pt>
                <c:pt idx="745">
                  <c:v>403.03179218571432</c:v>
                </c:pt>
                <c:pt idx="746">
                  <c:v>384.2811309857143</c:v>
                </c:pt>
                <c:pt idx="747">
                  <c:v>365.44936999999999</c:v>
                </c:pt>
                <c:pt idx="748">
                  <c:v>346.72174898571433</c:v>
                </c:pt>
                <c:pt idx="749">
                  <c:v>328.24898634285717</c:v>
                </c:pt>
                <c:pt idx="750">
                  <c:v>310.15217190000004</c:v>
                </c:pt>
                <c:pt idx="751">
                  <c:v>292.52704105714287</c:v>
                </c:pt>
                <c:pt idx="752">
                  <c:v>275.4477038</c:v>
                </c:pt>
                <c:pt idx="753">
                  <c:v>258.96989359999998</c:v>
                </c:pt>
                <c:pt idx="754">
                  <c:v>214.80619691428569</c:v>
                </c:pt>
                <c:pt idx="755">
                  <c:v>173.1801914142857</c:v>
                </c:pt>
                <c:pt idx="756">
                  <c:v>134.00883338571427</c:v>
                </c:pt>
                <c:pt idx="757">
                  <c:v>97.20190328571428</c:v>
                </c:pt>
                <c:pt idx="758">
                  <c:v>62.664123557142851</c:v>
                </c:pt>
                <c:pt idx="759">
                  <c:v>30.296938285714283</c:v>
                </c:pt>
                <c:pt idx="760">
                  <c:v>0</c:v>
                </c:pt>
                <c:pt idx="761">
                  <c:v>0</c:v>
                </c:pt>
                <c:pt idx="762">
                  <c:v>18.194271985714288</c:v>
                </c:pt>
                <c:pt idx="763">
                  <c:v>51.119988157142856</c:v>
                </c:pt>
                <c:pt idx="764">
                  <c:v>95.808618171428563</c:v>
                </c:pt>
                <c:pt idx="765">
                  <c:v>149.72321097142859</c:v>
                </c:pt>
                <c:pt idx="766">
                  <c:v>210.70313715714286</c:v>
                </c:pt>
                <c:pt idx="767">
                  <c:v>276.91543991428568</c:v>
                </c:pt>
                <c:pt idx="768">
                  <c:v>346.81203715714281</c:v>
                </c:pt>
                <c:pt idx="769">
                  <c:v>400.89782982857139</c:v>
                </c:pt>
                <c:pt idx="770">
                  <c:v>441.54903412857135</c:v>
                </c:pt>
                <c:pt idx="771">
                  <c:v>470.83279382857143</c:v>
                </c:pt>
                <c:pt idx="772">
                  <c:v>490.54448575714287</c:v>
                </c:pt>
                <c:pt idx="773">
                  <c:v>502.24072397142862</c:v>
                </c:pt>
                <c:pt idx="774">
                  <c:v>507.26854357142855</c:v>
                </c:pt>
                <c:pt idx="775">
                  <c:v>506.79119227142866</c:v>
                </c:pt>
                <c:pt idx="776">
                  <c:v>501.81091111428572</c:v>
                </c:pt>
                <c:pt idx="777">
                  <c:v>493.18904379999992</c:v>
                </c:pt>
                <c:pt idx="778">
                  <c:v>481.66377682857137</c:v>
                </c:pt>
                <c:pt idx="779">
                  <c:v>467.86577914285715</c:v>
                </c:pt>
                <c:pt idx="780">
                  <c:v>452.33198044285717</c:v>
                </c:pt>
                <c:pt idx="781">
                  <c:v>435.51770085714287</c:v>
                </c:pt>
                <c:pt idx="782">
                  <c:v>417.80732092857136</c:v>
                </c:pt>
                <c:pt idx="783">
                  <c:v>399.52365980000002</c:v>
                </c:pt>
                <c:pt idx="784">
                  <c:v>380.93621105714288</c:v>
                </c:pt>
                <c:pt idx="785">
                  <c:v>362.26836844285708</c:v>
                </c:pt>
                <c:pt idx="786">
                  <c:v>343.70375931428572</c:v>
                </c:pt>
                <c:pt idx="787">
                  <c:v>325.39179018571434</c:v>
                </c:pt>
                <c:pt idx="788">
                  <c:v>307.45249687142859</c:v>
                </c:pt>
                <c:pt idx="789">
                  <c:v>289.98078144285716</c:v>
                </c:pt>
                <c:pt idx="790">
                  <c:v>273.05010882857147</c:v>
                </c:pt>
                <c:pt idx="791">
                  <c:v>256.71572735714284</c:v>
                </c:pt>
                <c:pt idx="792">
                  <c:v>212.93644722857144</c:v>
                </c:pt>
                <c:pt idx="793">
                  <c:v>171.67276931428572</c:v>
                </c:pt>
                <c:pt idx="794">
                  <c:v>132.84237274285715</c:v>
                </c:pt>
                <c:pt idx="795">
                  <c:v>96.355823285714294</c:v>
                </c:pt>
                <c:pt idx="796">
                  <c:v>62.118672699999998</c:v>
                </c:pt>
                <c:pt idx="797">
                  <c:v>30.033222942857144</c:v>
                </c:pt>
                <c:pt idx="798">
                  <c:v>0</c:v>
                </c:pt>
                <c:pt idx="799">
                  <c:v>0</c:v>
                </c:pt>
                <c:pt idx="800">
                  <c:v>0</c:v>
                </c:pt>
                <c:pt idx="801">
                  <c:v>0</c:v>
                </c:pt>
                <c:pt idx="802">
                  <c:v>0</c:v>
                </c:pt>
                <c:pt idx="803">
                  <c:v>0</c:v>
                </c:pt>
                <c:pt idx="8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80-4D44-B5FB-C7344E7BB00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Other Non-Media</c:v>
                </c:pt>
              </c:strCache>
            </c:strRef>
          </c:tx>
          <c:spPr>
            <a:solidFill>
              <a:schemeClr val="accent6"/>
            </a:solidFill>
            <a:ln w="12700">
              <a:solidFill>
                <a:schemeClr val="accent6"/>
              </a:solidFill>
            </a:ln>
            <a:effectLst/>
          </c:spPr>
          <c:invertIfNegative val="0"/>
          <c:cat>
            <c:numRef>
              <c:f>Sheet1!$A$2:$A$806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G$2:$G$806</c:f>
              <c:numCache>
                <c:formatCode>#,##0</c:formatCode>
                <c:ptCount val="8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3.314230614285718</c:v>
                </c:pt>
                <c:pt idx="7">
                  <c:v>12.555286285714288</c:v>
                </c:pt>
                <c:pt idx="8">
                  <c:v>12.571517400000003</c:v>
                </c:pt>
                <c:pt idx="9">
                  <c:v>28.359520099999997</c:v>
                </c:pt>
                <c:pt idx="10">
                  <c:v>27.610037957142858</c:v>
                </c:pt>
                <c:pt idx="11">
                  <c:v>26.889108685714287</c:v>
                </c:pt>
                <c:pt idx="12">
                  <c:v>26.10738152857143</c:v>
                </c:pt>
                <c:pt idx="13">
                  <c:v>25.34740202857143</c:v>
                </c:pt>
                <c:pt idx="14">
                  <c:v>25.34740202857143</c:v>
                </c:pt>
                <c:pt idx="15">
                  <c:v>24.591273928571432</c:v>
                </c:pt>
                <c:pt idx="16">
                  <c:v>8.1075442857142868E-2</c:v>
                </c:pt>
                <c:pt idx="17">
                  <c:v>0.9043288857142856</c:v>
                </c:pt>
                <c:pt idx="18">
                  <c:v>0.87807818571428575</c:v>
                </c:pt>
                <c:pt idx="19">
                  <c:v>1.2542955</c:v>
                </c:pt>
                <c:pt idx="20">
                  <c:v>3.1847718142857144</c:v>
                </c:pt>
                <c:pt idx="21">
                  <c:v>3.9443531714285709</c:v>
                </c:pt>
                <c:pt idx="22">
                  <c:v>4.7118908285714278</c:v>
                </c:pt>
                <c:pt idx="23">
                  <c:v>5.5152860142857136</c:v>
                </c:pt>
                <c:pt idx="24">
                  <c:v>32.439422028571428</c:v>
                </c:pt>
                <c:pt idx="25">
                  <c:v>44.564566157142856</c:v>
                </c:pt>
                <c:pt idx="26">
                  <c:v>45.088156128571427</c:v>
                </c:pt>
                <c:pt idx="27">
                  <c:v>44.316598514285715</c:v>
                </c:pt>
                <c:pt idx="28">
                  <c:v>44.787203428571431</c:v>
                </c:pt>
                <c:pt idx="29">
                  <c:v>48.702300700000002</c:v>
                </c:pt>
                <c:pt idx="30">
                  <c:v>52.912372971428574</c:v>
                </c:pt>
                <c:pt idx="31">
                  <c:v>29.592004142857142</c:v>
                </c:pt>
                <c:pt idx="32">
                  <c:v>21.807063814285716</c:v>
                </c:pt>
                <c:pt idx="33">
                  <c:v>25.256147899999998</c:v>
                </c:pt>
                <c:pt idx="34">
                  <c:v>28.444209485714282</c:v>
                </c:pt>
                <c:pt idx="35">
                  <c:v>31.564109014285712</c:v>
                </c:pt>
                <c:pt idx="36">
                  <c:v>39.838310042857145</c:v>
                </c:pt>
                <c:pt idx="37">
                  <c:v>47.82190708571428</c:v>
                </c:pt>
                <c:pt idx="38">
                  <c:v>56.346178142857148</c:v>
                </c:pt>
                <c:pt idx="39">
                  <c:v>64.953059828571426</c:v>
                </c:pt>
                <c:pt idx="40">
                  <c:v>73.567818185714287</c:v>
                </c:pt>
                <c:pt idx="41">
                  <c:v>82.178964028571428</c:v>
                </c:pt>
                <c:pt idx="42">
                  <c:v>90.790508014285706</c:v>
                </c:pt>
                <c:pt idx="43">
                  <c:v>90.791702442857158</c:v>
                </c:pt>
                <c:pt idx="44">
                  <c:v>90.802691185714295</c:v>
                </c:pt>
                <c:pt idx="45">
                  <c:v>90.812334299999989</c:v>
                </c:pt>
                <c:pt idx="46">
                  <c:v>90.807968842857136</c:v>
                </c:pt>
                <c:pt idx="47">
                  <c:v>90.840554042857164</c:v>
                </c:pt>
                <c:pt idx="48">
                  <c:v>90.842066985714283</c:v>
                </c:pt>
                <c:pt idx="49">
                  <c:v>90.841748471428573</c:v>
                </c:pt>
                <c:pt idx="50">
                  <c:v>90.845571142857153</c:v>
                </c:pt>
                <c:pt idx="51">
                  <c:v>90.899936300000007</c:v>
                </c:pt>
                <c:pt idx="52">
                  <c:v>90.890213557142872</c:v>
                </c:pt>
                <c:pt idx="53">
                  <c:v>90.89066965714288</c:v>
                </c:pt>
                <c:pt idx="54">
                  <c:v>90.854870085714296</c:v>
                </c:pt>
                <c:pt idx="55">
                  <c:v>90.853277514285722</c:v>
                </c:pt>
                <c:pt idx="56">
                  <c:v>90.853357142857149</c:v>
                </c:pt>
                <c:pt idx="57">
                  <c:v>90.842527157142868</c:v>
                </c:pt>
                <c:pt idx="58">
                  <c:v>90.871659100000002</c:v>
                </c:pt>
                <c:pt idx="59">
                  <c:v>90.900588442857156</c:v>
                </c:pt>
                <c:pt idx="60">
                  <c:v>90.934875071428579</c:v>
                </c:pt>
                <c:pt idx="61">
                  <c:v>90.934875071428579</c:v>
                </c:pt>
                <c:pt idx="62">
                  <c:v>90.939616999999998</c:v>
                </c:pt>
                <c:pt idx="63">
                  <c:v>90.93945774285713</c:v>
                </c:pt>
                <c:pt idx="64">
                  <c:v>90.941869271428587</c:v>
                </c:pt>
                <c:pt idx="65">
                  <c:v>90.857510871428573</c:v>
                </c:pt>
                <c:pt idx="66">
                  <c:v>90.828581528571434</c:v>
                </c:pt>
                <c:pt idx="67">
                  <c:v>90.793759171428562</c:v>
                </c:pt>
                <c:pt idx="68">
                  <c:v>91.189662642857144</c:v>
                </c:pt>
                <c:pt idx="69">
                  <c:v>91.184841085714297</c:v>
                </c:pt>
                <c:pt idx="70">
                  <c:v>91.184841085714282</c:v>
                </c:pt>
                <c:pt idx="71">
                  <c:v>91.286629528571424</c:v>
                </c:pt>
                <c:pt idx="72">
                  <c:v>91.507265714285708</c:v>
                </c:pt>
                <c:pt idx="73">
                  <c:v>91.544766714285714</c:v>
                </c:pt>
                <c:pt idx="74">
                  <c:v>91.561374299999997</c:v>
                </c:pt>
                <c:pt idx="75">
                  <c:v>91.261366257142868</c:v>
                </c:pt>
                <c:pt idx="76">
                  <c:v>91.261366257142853</c:v>
                </c:pt>
                <c:pt idx="77">
                  <c:v>91.261366257142853</c:v>
                </c:pt>
                <c:pt idx="78">
                  <c:v>91.148327514285711</c:v>
                </c:pt>
                <c:pt idx="79">
                  <c:v>111.58690267142856</c:v>
                </c:pt>
                <c:pt idx="80">
                  <c:v>132.18717581428569</c:v>
                </c:pt>
                <c:pt idx="81">
                  <c:v>152.94656035714283</c:v>
                </c:pt>
                <c:pt idx="82">
                  <c:v>173.75416047142858</c:v>
                </c:pt>
                <c:pt idx="83">
                  <c:v>194.39193461428567</c:v>
                </c:pt>
                <c:pt idx="84">
                  <c:v>215.0297087571428</c:v>
                </c:pt>
                <c:pt idx="85">
                  <c:v>235.66748289999992</c:v>
                </c:pt>
                <c:pt idx="86">
                  <c:v>235.77662197142854</c:v>
                </c:pt>
                <c:pt idx="87">
                  <c:v>235.82376608571425</c:v>
                </c:pt>
                <c:pt idx="88">
                  <c:v>235.70215568571425</c:v>
                </c:pt>
                <c:pt idx="89">
                  <c:v>235.43643428571426</c:v>
                </c:pt>
                <c:pt idx="90">
                  <c:v>235.43643428571426</c:v>
                </c:pt>
                <c:pt idx="91">
                  <c:v>235.43643428571426</c:v>
                </c:pt>
                <c:pt idx="92">
                  <c:v>235.43643428571426</c:v>
                </c:pt>
                <c:pt idx="93">
                  <c:v>235.26013659999995</c:v>
                </c:pt>
                <c:pt idx="94">
                  <c:v>272.36363088571426</c:v>
                </c:pt>
                <c:pt idx="95">
                  <c:v>341.52726999999999</c:v>
                </c:pt>
                <c:pt idx="96">
                  <c:v>341.52941291428573</c:v>
                </c:pt>
                <c:pt idx="97">
                  <c:v>341.52941291428573</c:v>
                </c:pt>
                <c:pt idx="98">
                  <c:v>341.52941291428573</c:v>
                </c:pt>
                <c:pt idx="99">
                  <c:v>341.52941291428567</c:v>
                </c:pt>
                <c:pt idx="100">
                  <c:v>435.04888327142856</c:v>
                </c:pt>
                <c:pt idx="101">
                  <c:v>398.29468407142849</c:v>
                </c:pt>
                <c:pt idx="102">
                  <c:v>358.98398779999997</c:v>
                </c:pt>
                <c:pt idx="103">
                  <c:v>359.01184568571426</c:v>
                </c:pt>
                <c:pt idx="104">
                  <c:v>359.03059618571427</c:v>
                </c:pt>
                <c:pt idx="105">
                  <c:v>359.03059618571427</c:v>
                </c:pt>
                <c:pt idx="106">
                  <c:v>359.04988241428572</c:v>
                </c:pt>
                <c:pt idx="107">
                  <c:v>265.56102821428573</c:v>
                </c:pt>
                <c:pt idx="108">
                  <c:v>265.16610195714281</c:v>
                </c:pt>
                <c:pt idx="109">
                  <c:v>235.29708725714286</c:v>
                </c:pt>
                <c:pt idx="110">
                  <c:v>235.26716608571431</c:v>
                </c:pt>
                <c:pt idx="111">
                  <c:v>243.11218804285713</c:v>
                </c:pt>
                <c:pt idx="112">
                  <c:v>250.97596049999999</c:v>
                </c:pt>
                <c:pt idx="113">
                  <c:v>258.82044672857137</c:v>
                </c:pt>
                <c:pt idx="114">
                  <c:v>266.65483374285714</c:v>
                </c:pt>
                <c:pt idx="115">
                  <c:v>274.54559322857136</c:v>
                </c:pt>
                <c:pt idx="116">
                  <c:v>282.44311658571422</c:v>
                </c:pt>
                <c:pt idx="117">
                  <c:v>290.43859865714285</c:v>
                </c:pt>
                <c:pt idx="118">
                  <c:v>269.81207481428567</c:v>
                </c:pt>
                <c:pt idx="119">
                  <c:v>249.18463877142855</c:v>
                </c:pt>
                <c:pt idx="120">
                  <c:v>228.5485514428571</c:v>
                </c:pt>
                <c:pt idx="121">
                  <c:v>207.91121878571428</c:v>
                </c:pt>
                <c:pt idx="122">
                  <c:v>187.24724684285715</c:v>
                </c:pt>
                <c:pt idx="123">
                  <c:v>166.58238942857142</c:v>
                </c:pt>
                <c:pt idx="124">
                  <c:v>145.82522742857145</c:v>
                </c:pt>
                <c:pt idx="125">
                  <c:v>145.81665577142857</c:v>
                </c:pt>
                <c:pt idx="126">
                  <c:v>145.80647692857147</c:v>
                </c:pt>
                <c:pt idx="127">
                  <c:v>145.80733117142861</c:v>
                </c:pt>
                <c:pt idx="128">
                  <c:v>145.84762672857144</c:v>
                </c:pt>
                <c:pt idx="129">
                  <c:v>145.8454041857143</c:v>
                </c:pt>
                <c:pt idx="130">
                  <c:v>145.83881618571428</c:v>
                </c:pt>
                <c:pt idx="131">
                  <c:v>145.84869818571428</c:v>
                </c:pt>
                <c:pt idx="132">
                  <c:v>145.84625842857142</c:v>
                </c:pt>
                <c:pt idx="133">
                  <c:v>145.84609917142853</c:v>
                </c:pt>
                <c:pt idx="134">
                  <c:v>145.84355811428571</c:v>
                </c:pt>
                <c:pt idx="135">
                  <c:v>145.80254590000001</c:v>
                </c:pt>
                <c:pt idx="136">
                  <c:v>145.81451285714283</c:v>
                </c:pt>
                <c:pt idx="137">
                  <c:v>145.81397712857145</c:v>
                </c:pt>
                <c:pt idx="138">
                  <c:v>145.79193262857146</c:v>
                </c:pt>
                <c:pt idx="139">
                  <c:v>145.79230910000001</c:v>
                </c:pt>
                <c:pt idx="140">
                  <c:v>145.79724607142859</c:v>
                </c:pt>
                <c:pt idx="141">
                  <c:v>145.79833919999999</c:v>
                </c:pt>
                <c:pt idx="142">
                  <c:v>145.83649184285716</c:v>
                </c:pt>
                <c:pt idx="143">
                  <c:v>145.82627671428571</c:v>
                </c:pt>
                <c:pt idx="144">
                  <c:v>146.54460920000002</c:v>
                </c:pt>
                <c:pt idx="145">
                  <c:v>146.54490604285715</c:v>
                </c:pt>
                <c:pt idx="146">
                  <c:v>146.54429068571429</c:v>
                </c:pt>
                <c:pt idx="147">
                  <c:v>146.53935371428571</c:v>
                </c:pt>
                <c:pt idx="148">
                  <c:v>146.53933204285713</c:v>
                </c:pt>
                <c:pt idx="149">
                  <c:v>146.50191067142856</c:v>
                </c:pt>
                <c:pt idx="150">
                  <c:v>146.50095512857143</c:v>
                </c:pt>
                <c:pt idx="151">
                  <c:v>145.78262264285715</c:v>
                </c:pt>
                <c:pt idx="152">
                  <c:v>145.78422982857145</c:v>
                </c:pt>
                <c:pt idx="153">
                  <c:v>145.78422982857143</c:v>
                </c:pt>
                <c:pt idx="154">
                  <c:v>145.78422982857143</c:v>
                </c:pt>
                <c:pt idx="155">
                  <c:v>145.79253337142856</c:v>
                </c:pt>
                <c:pt idx="156">
                  <c:v>148.24307425714287</c:v>
                </c:pt>
                <c:pt idx="157">
                  <c:v>148.25430188571431</c:v>
                </c:pt>
                <c:pt idx="158">
                  <c:v>148.25589445714286</c:v>
                </c:pt>
                <c:pt idx="159">
                  <c:v>148.26935874285715</c:v>
                </c:pt>
                <c:pt idx="160">
                  <c:v>148.28934551428571</c:v>
                </c:pt>
                <c:pt idx="161">
                  <c:v>148.31140262857144</c:v>
                </c:pt>
                <c:pt idx="162">
                  <c:v>148.33594940000003</c:v>
                </c:pt>
                <c:pt idx="163">
                  <c:v>146.30193101428571</c:v>
                </c:pt>
                <c:pt idx="164">
                  <c:v>146.37370404285716</c:v>
                </c:pt>
                <c:pt idx="165">
                  <c:v>146.39528338571429</c:v>
                </c:pt>
                <c:pt idx="166">
                  <c:v>146.39589874285716</c:v>
                </c:pt>
                <c:pt idx="167">
                  <c:v>146.42806868571429</c:v>
                </c:pt>
                <c:pt idx="168">
                  <c:v>146.48914381428571</c:v>
                </c:pt>
                <c:pt idx="169">
                  <c:v>180.33925991428575</c:v>
                </c:pt>
                <c:pt idx="170">
                  <c:v>180.1843026857143</c:v>
                </c:pt>
                <c:pt idx="171">
                  <c:v>180.42783867142859</c:v>
                </c:pt>
                <c:pt idx="172">
                  <c:v>180.61146268571429</c:v>
                </c:pt>
                <c:pt idx="173">
                  <c:v>180.88470251428572</c:v>
                </c:pt>
                <c:pt idx="174">
                  <c:v>180.99334762857143</c:v>
                </c:pt>
                <c:pt idx="175">
                  <c:v>173.18642997142857</c:v>
                </c:pt>
                <c:pt idx="176">
                  <c:v>160.13256351428572</c:v>
                </c:pt>
                <c:pt idx="177">
                  <c:v>194.35566871428571</c:v>
                </c:pt>
                <c:pt idx="178">
                  <c:v>214.75672725714284</c:v>
                </c:pt>
                <c:pt idx="179">
                  <c:v>237.39351349999998</c:v>
                </c:pt>
                <c:pt idx="180">
                  <c:v>257.80911141428572</c:v>
                </c:pt>
                <c:pt idx="181">
                  <c:v>278.4047303142857</c:v>
                </c:pt>
                <c:pt idx="182">
                  <c:v>306.85356279999996</c:v>
                </c:pt>
                <c:pt idx="183">
                  <c:v>306.80417845714283</c:v>
                </c:pt>
                <c:pt idx="184">
                  <c:v>301.71179501428566</c:v>
                </c:pt>
                <c:pt idx="185">
                  <c:v>301.81814645714286</c:v>
                </c:pt>
                <c:pt idx="186">
                  <c:v>299.72902702857147</c:v>
                </c:pt>
                <c:pt idx="187">
                  <c:v>299.70724557142859</c:v>
                </c:pt>
                <c:pt idx="188">
                  <c:v>299.63207618571425</c:v>
                </c:pt>
                <c:pt idx="189">
                  <c:v>299.59297854285711</c:v>
                </c:pt>
                <c:pt idx="190">
                  <c:v>299.5147832857142</c:v>
                </c:pt>
                <c:pt idx="191">
                  <c:v>295.68541509999994</c:v>
                </c:pt>
                <c:pt idx="192">
                  <c:v>295.55317980000001</c:v>
                </c:pt>
                <c:pt idx="193">
                  <c:v>295.50785352857139</c:v>
                </c:pt>
                <c:pt idx="194">
                  <c:v>295.53259078571426</c:v>
                </c:pt>
                <c:pt idx="195">
                  <c:v>295.53330744285711</c:v>
                </c:pt>
                <c:pt idx="196">
                  <c:v>295.53067969999995</c:v>
                </c:pt>
                <c:pt idx="197">
                  <c:v>295.80062058571423</c:v>
                </c:pt>
                <c:pt idx="198">
                  <c:v>291.27511712857137</c:v>
                </c:pt>
                <c:pt idx="199">
                  <c:v>291.53224238571426</c:v>
                </c:pt>
                <c:pt idx="200">
                  <c:v>291.79054238571428</c:v>
                </c:pt>
                <c:pt idx="201">
                  <c:v>294.40848172857142</c:v>
                </c:pt>
                <c:pt idx="202">
                  <c:v>294.70485931428567</c:v>
                </c:pt>
                <c:pt idx="203">
                  <c:v>294.92216571428565</c:v>
                </c:pt>
                <c:pt idx="204">
                  <c:v>294.8487778857143</c:v>
                </c:pt>
                <c:pt idx="205">
                  <c:v>294.71396062857139</c:v>
                </c:pt>
                <c:pt idx="206">
                  <c:v>294.6190433571428</c:v>
                </c:pt>
                <c:pt idx="207">
                  <c:v>295.28410127142854</c:v>
                </c:pt>
                <c:pt idx="208">
                  <c:v>293.19042695714285</c:v>
                </c:pt>
                <c:pt idx="209">
                  <c:v>293.09718188571424</c:v>
                </c:pt>
                <c:pt idx="210">
                  <c:v>293.04367148571424</c:v>
                </c:pt>
                <c:pt idx="211">
                  <c:v>293.01975318571425</c:v>
                </c:pt>
                <c:pt idx="212">
                  <c:v>296.60869905714287</c:v>
                </c:pt>
                <c:pt idx="213">
                  <c:v>296.38400181428568</c:v>
                </c:pt>
                <c:pt idx="214">
                  <c:v>295.42075047142856</c:v>
                </c:pt>
                <c:pt idx="215">
                  <c:v>294.87521505714284</c:v>
                </c:pt>
                <c:pt idx="216">
                  <c:v>294.75736475714285</c:v>
                </c:pt>
                <c:pt idx="217">
                  <c:v>294.71125981428577</c:v>
                </c:pt>
                <c:pt idx="218">
                  <c:v>294.67431215714288</c:v>
                </c:pt>
                <c:pt idx="219">
                  <c:v>304.92028105714286</c:v>
                </c:pt>
                <c:pt idx="220">
                  <c:v>326.01144608571434</c:v>
                </c:pt>
                <c:pt idx="221">
                  <c:v>326.21352781428567</c:v>
                </c:pt>
                <c:pt idx="222">
                  <c:v>326.24203485714281</c:v>
                </c:pt>
                <c:pt idx="223">
                  <c:v>326.20190205714283</c:v>
                </c:pt>
                <c:pt idx="224">
                  <c:v>326.12983818571428</c:v>
                </c:pt>
                <c:pt idx="225">
                  <c:v>326.05323548571425</c:v>
                </c:pt>
                <c:pt idx="226">
                  <c:v>321.55191137142862</c:v>
                </c:pt>
                <c:pt idx="227">
                  <c:v>301.23095782857143</c:v>
                </c:pt>
                <c:pt idx="228">
                  <c:v>301.20890071428573</c:v>
                </c:pt>
                <c:pt idx="229">
                  <c:v>301.15675859999999</c:v>
                </c:pt>
                <c:pt idx="230">
                  <c:v>301.08660581428569</c:v>
                </c:pt>
                <c:pt idx="231">
                  <c:v>301.02123074285709</c:v>
                </c:pt>
                <c:pt idx="232">
                  <c:v>300.93061341428569</c:v>
                </c:pt>
                <c:pt idx="233">
                  <c:v>293.61489671428569</c:v>
                </c:pt>
                <c:pt idx="234">
                  <c:v>292.96793565714279</c:v>
                </c:pt>
                <c:pt idx="235">
                  <c:v>272.16333257142855</c:v>
                </c:pt>
                <c:pt idx="236">
                  <c:v>243.65953469999994</c:v>
                </c:pt>
                <c:pt idx="237">
                  <c:v>215.16212878571426</c:v>
                </c:pt>
                <c:pt idx="238">
                  <c:v>186.6623340142857</c:v>
                </c:pt>
                <c:pt idx="239">
                  <c:v>158.16500772857142</c:v>
                </c:pt>
                <c:pt idx="240">
                  <c:v>129.26108378571428</c:v>
                </c:pt>
                <c:pt idx="241">
                  <c:v>103.04316194285715</c:v>
                </c:pt>
                <c:pt idx="242">
                  <c:v>95.200179614285716</c:v>
                </c:pt>
                <c:pt idx="243">
                  <c:v>95.236497314285728</c:v>
                </c:pt>
                <c:pt idx="244">
                  <c:v>95.302111271428572</c:v>
                </c:pt>
                <c:pt idx="245">
                  <c:v>95.368760399999999</c:v>
                </c:pt>
                <c:pt idx="246">
                  <c:v>95.399656300000018</c:v>
                </c:pt>
                <c:pt idx="247">
                  <c:v>95.539975985714278</c:v>
                </c:pt>
                <c:pt idx="248">
                  <c:v>95.611207285714286</c:v>
                </c:pt>
                <c:pt idx="249">
                  <c:v>95.632853642857143</c:v>
                </c:pt>
                <c:pt idx="250">
                  <c:v>95.639672971428567</c:v>
                </c:pt>
                <c:pt idx="251">
                  <c:v>95.681159457142869</c:v>
                </c:pt>
                <c:pt idx="252">
                  <c:v>95.680920571428587</c:v>
                </c:pt>
                <c:pt idx="253">
                  <c:v>95.661013414285733</c:v>
                </c:pt>
                <c:pt idx="254">
                  <c:v>94.435290642857154</c:v>
                </c:pt>
                <c:pt idx="255">
                  <c:v>92.022942757142843</c:v>
                </c:pt>
                <c:pt idx="256">
                  <c:v>91.999942714285709</c:v>
                </c:pt>
                <c:pt idx="257">
                  <c:v>92.015339757142868</c:v>
                </c:pt>
                <c:pt idx="258">
                  <c:v>92.026806271428583</c:v>
                </c:pt>
                <c:pt idx="259">
                  <c:v>92.01215461428572</c:v>
                </c:pt>
                <c:pt idx="260">
                  <c:v>92.043528285714288</c:v>
                </c:pt>
                <c:pt idx="261">
                  <c:v>93.751879885714288</c:v>
                </c:pt>
                <c:pt idx="262">
                  <c:v>93.822742257142863</c:v>
                </c:pt>
                <c:pt idx="263">
                  <c:v>94.083286971428578</c:v>
                </c:pt>
                <c:pt idx="264">
                  <c:v>94.358801857142865</c:v>
                </c:pt>
                <c:pt idx="265">
                  <c:v>94.341124314285707</c:v>
                </c:pt>
                <c:pt idx="266">
                  <c:v>94.338815085714288</c:v>
                </c:pt>
                <c:pt idx="267">
                  <c:v>94.710333314285734</c:v>
                </c:pt>
                <c:pt idx="268">
                  <c:v>93.859979685714293</c:v>
                </c:pt>
                <c:pt idx="269">
                  <c:v>93.777810057142872</c:v>
                </c:pt>
                <c:pt idx="270">
                  <c:v>93.529209628571422</c:v>
                </c:pt>
                <c:pt idx="271">
                  <c:v>93.353548985714298</c:v>
                </c:pt>
                <c:pt idx="272">
                  <c:v>93.337862157142851</c:v>
                </c:pt>
                <c:pt idx="273">
                  <c:v>93.335075157142867</c:v>
                </c:pt>
                <c:pt idx="274">
                  <c:v>94.521468457142873</c:v>
                </c:pt>
                <c:pt idx="275">
                  <c:v>94.361494642857139</c:v>
                </c:pt>
                <c:pt idx="276">
                  <c:v>94.370572300000006</c:v>
                </c:pt>
                <c:pt idx="277">
                  <c:v>94.368103814285732</c:v>
                </c:pt>
                <c:pt idx="278">
                  <c:v>94.333581285714303</c:v>
                </c:pt>
                <c:pt idx="279">
                  <c:v>94.317655571428574</c:v>
                </c:pt>
                <c:pt idx="280">
                  <c:v>94.299420628571426</c:v>
                </c:pt>
                <c:pt idx="281">
                  <c:v>92.700978142857139</c:v>
                </c:pt>
                <c:pt idx="282">
                  <c:v>91.452778442857152</c:v>
                </c:pt>
                <c:pt idx="283">
                  <c:v>91.459767071428587</c:v>
                </c:pt>
                <c:pt idx="284">
                  <c:v>91.450675299999986</c:v>
                </c:pt>
                <c:pt idx="285">
                  <c:v>93.458075571428566</c:v>
                </c:pt>
                <c:pt idx="286">
                  <c:v>93.385454299999992</c:v>
                </c:pt>
                <c:pt idx="287">
                  <c:v>93.353841742857142</c:v>
                </c:pt>
                <c:pt idx="288">
                  <c:v>93.340623400000013</c:v>
                </c:pt>
                <c:pt idx="289">
                  <c:v>93.206702742857146</c:v>
                </c:pt>
                <c:pt idx="290">
                  <c:v>93.153877271428584</c:v>
                </c:pt>
                <c:pt idx="291">
                  <c:v>92.349812257142858</c:v>
                </c:pt>
                <c:pt idx="292">
                  <c:v>90.216193628571432</c:v>
                </c:pt>
                <c:pt idx="293">
                  <c:v>89.448967928571435</c:v>
                </c:pt>
                <c:pt idx="294">
                  <c:v>89.427866357142861</c:v>
                </c:pt>
                <c:pt idx="295">
                  <c:v>89.402899271428581</c:v>
                </c:pt>
                <c:pt idx="296">
                  <c:v>89.344635314285711</c:v>
                </c:pt>
                <c:pt idx="297">
                  <c:v>89.344367200000008</c:v>
                </c:pt>
                <c:pt idx="298">
                  <c:v>90.121546471428573</c:v>
                </c:pt>
                <c:pt idx="299">
                  <c:v>90.120322814285714</c:v>
                </c:pt>
                <c:pt idx="300">
                  <c:v>77.92424652857143</c:v>
                </c:pt>
                <c:pt idx="301">
                  <c:v>64.97583508571428</c:v>
                </c:pt>
                <c:pt idx="302">
                  <c:v>52.030492871428571</c:v>
                </c:pt>
                <c:pt idx="303">
                  <c:v>39.065588757142862</c:v>
                </c:pt>
                <c:pt idx="304">
                  <c:v>26.111908214285712</c:v>
                </c:pt>
                <c:pt idx="305">
                  <c:v>13.165328228571431</c:v>
                </c:pt>
                <c:pt idx="306">
                  <c:v>0.19740778571428574</c:v>
                </c:pt>
                <c:pt idx="307">
                  <c:v>0.19350598571428571</c:v>
                </c:pt>
                <c:pt idx="308">
                  <c:v>0.19191341428571423</c:v>
                </c:pt>
                <c:pt idx="309">
                  <c:v>0.1876134714285714</c:v>
                </c:pt>
                <c:pt idx="310">
                  <c:v>0.20042811428571428</c:v>
                </c:pt>
                <c:pt idx="311">
                  <c:v>0.18475489999999997</c:v>
                </c:pt>
                <c:pt idx="312">
                  <c:v>0.18288765714285718</c:v>
                </c:pt>
                <c:pt idx="313">
                  <c:v>0.18959862857142859</c:v>
                </c:pt>
                <c:pt idx="314">
                  <c:v>0.18967825714285719</c:v>
                </c:pt>
                <c:pt idx="315">
                  <c:v>0.19055417142857145</c:v>
                </c:pt>
                <c:pt idx="316">
                  <c:v>0.18999677142857146</c:v>
                </c:pt>
                <c:pt idx="317">
                  <c:v>0.16097418571428571</c:v>
                </c:pt>
                <c:pt idx="318">
                  <c:v>0.91182562857142846</c:v>
                </c:pt>
                <c:pt idx="319">
                  <c:v>0.88937742857142854</c:v>
                </c:pt>
                <c:pt idx="320">
                  <c:v>0.87105529999999998</c:v>
                </c:pt>
                <c:pt idx="321">
                  <c:v>0.85648327142857128</c:v>
                </c:pt>
                <c:pt idx="322">
                  <c:v>0.8406371857142857</c:v>
                </c:pt>
                <c:pt idx="323">
                  <c:v>0.82797624285714277</c:v>
                </c:pt>
                <c:pt idx="324">
                  <c:v>0.79609558571428563</c:v>
                </c:pt>
                <c:pt idx="325">
                  <c:v>3.6325742857142858E-2</c:v>
                </c:pt>
                <c:pt idx="326">
                  <c:v>8.788371428571428E-3</c:v>
                </c:pt>
                <c:pt idx="327">
                  <c:v>5.3253842857142852E-2</c:v>
                </c:pt>
                <c:pt idx="328">
                  <c:v>5.3253842857142852E-2</c:v>
                </c:pt>
                <c:pt idx="329">
                  <c:v>5.3253842857142852E-2</c:v>
                </c:pt>
                <c:pt idx="330">
                  <c:v>5.3970499999999991E-2</c:v>
                </c:pt>
                <c:pt idx="331">
                  <c:v>9.6886742857142841E-2</c:v>
                </c:pt>
                <c:pt idx="332">
                  <c:v>0.85775677142857154</c:v>
                </c:pt>
                <c:pt idx="333">
                  <c:v>0.85934934285714293</c:v>
                </c:pt>
                <c:pt idx="334">
                  <c:v>0.81590442857142875</c:v>
                </c:pt>
                <c:pt idx="335">
                  <c:v>0.81845254285714308</c:v>
                </c:pt>
                <c:pt idx="336">
                  <c:v>0.820522885714286</c:v>
                </c:pt>
                <c:pt idx="337">
                  <c:v>0.82323025714285725</c:v>
                </c:pt>
                <c:pt idx="338">
                  <c:v>0.79638437142857155</c:v>
                </c:pt>
                <c:pt idx="339">
                  <c:v>6.2119842857142858E-2</c:v>
                </c:pt>
                <c:pt idx="340">
                  <c:v>8.2649899999999984E-2</c:v>
                </c:pt>
                <c:pt idx="341">
                  <c:v>0.11953554285714285</c:v>
                </c:pt>
                <c:pt idx="342">
                  <c:v>0.11953554285714285</c:v>
                </c:pt>
                <c:pt idx="343">
                  <c:v>0.12017257142857142</c:v>
                </c:pt>
                <c:pt idx="344">
                  <c:v>0.1191736857142857</c:v>
                </c:pt>
                <c:pt idx="345">
                  <c:v>0.12833097142857144</c:v>
                </c:pt>
                <c:pt idx="346">
                  <c:v>0.10268101428571429</c:v>
                </c:pt>
                <c:pt idx="347">
                  <c:v>0.85942447142857148</c:v>
                </c:pt>
                <c:pt idx="348">
                  <c:v>0.8334852285714287</c:v>
                </c:pt>
                <c:pt idx="349">
                  <c:v>0.83093711428571437</c:v>
                </c:pt>
                <c:pt idx="350">
                  <c:v>0.8282297428571429</c:v>
                </c:pt>
                <c:pt idx="351">
                  <c:v>0.82612311428571428</c:v>
                </c:pt>
                <c:pt idx="352">
                  <c:v>5.8201888857142858</c:v>
                </c:pt>
                <c:pt idx="353">
                  <c:v>6.0554923428571428</c:v>
                </c:pt>
                <c:pt idx="354">
                  <c:v>6.7761488714285703</c:v>
                </c:pt>
                <c:pt idx="355">
                  <c:v>6.7842709857142856</c:v>
                </c:pt>
                <c:pt idx="356">
                  <c:v>7.5501218285714282</c:v>
                </c:pt>
                <c:pt idx="357">
                  <c:v>7.5501218285714282</c:v>
                </c:pt>
                <c:pt idx="358">
                  <c:v>7.5535534142857141</c:v>
                </c:pt>
                <c:pt idx="359">
                  <c:v>44.046615842857143</c:v>
                </c:pt>
                <c:pt idx="360">
                  <c:v>43.835802200000003</c:v>
                </c:pt>
                <c:pt idx="361">
                  <c:v>54.112970871428573</c:v>
                </c:pt>
                <c:pt idx="362">
                  <c:v>54.170042900000006</c:v>
                </c:pt>
                <c:pt idx="363">
                  <c:v>53.420531028571432</c:v>
                </c:pt>
                <c:pt idx="364">
                  <c:v>53.428573514285723</c:v>
                </c:pt>
                <c:pt idx="365">
                  <c:v>53.464350914285724</c:v>
                </c:pt>
                <c:pt idx="366">
                  <c:v>24.791602414285713</c:v>
                </c:pt>
                <c:pt idx="367">
                  <c:v>41.495253200000001</c:v>
                </c:pt>
                <c:pt idx="368">
                  <c:v>38.264779099999998</c:v>
                </c:pt>
                <c:pt idx="369">
                  <c:v>39.001955585714292</c:v>
                </c:pt>
                <c:pt idx="370">
                  <c:v>76.37983011428571</c:v>
                </c:pt>
                <c:pt idx="371">
                  <c:v>77.140446642857128</c:v>
                </c:pt>
                <c:pt idx="372">
                  <c:v>77.868542985714285</c:v>
                </c:pt>
                <c:pt idx="373">
                  <c:v>81.829865871428552</c:v>
                </c:pt>
                <c:pt idx="374">
                  <c:v>82.497624657142865</c:v>
                </c:pt>
                <c:pt idx="375">
                  <c:v>117.58661498571428</c:v>
                </c:pt>
                <c:pt idx="376">
                  <c:v>117.07860498571428</c:v>
                </c:pt>
                <c:pt idx="377">
                  <c:v>79.703835471428562</c:v>
                </c:pt>
                <c:pt idx="378">
                  <c:v>78.953483971428568</c:v>
                </c:pt>
                <c:pt idx="379">
                  <c:v>78.216221285714269</c:v>
                </c:pt>
                <c:pt idx="380">
                  <c:v>87.955005514285716</c:v>
                </c:pt>
                <c:pt idx="381">
                  <c:v>71.084915828571425</c:v>
                </c:pt>
                <c:pt idx="382">
                  <c:v>39.903220385714292</c:v>
                </c:pt>
                <c:pt idx="383">
                  <c:v>40.676901571428573</c:v>
                </c:pt>
                <c:pt idx="384">
                  <c:v>40.688122642857152</c:v>
                </c:pt>
                <c:pt idx="385">
                  <c:v>40.708624971428584</c:v>
                </c:pt>
                <c:pt idx="386">
                  <c:v>40.803745785714298</c:v>
                </c:pt>
                <c:pt idx="387">
                  <c:v>34.543599685714291</c:v>
                </c:pt>
                <c:pt idx="388">
                  <c:v>36.438320442857147</c:v>
                </c:pt>
                <c:pt idx="389">
                  <c:v>32.971936571428571</c:v>
                </c:pt>
                <c:pt idx="390">
                  <c:v>32.061988214285712</c:v>
                </c:pt>
                <c:pt idx="391">
                  <c:v>55.731551071428576</c:v>
                </c:pt>
                <c:pt idx="392">
                  <c:v>55.725324928571432</c:v>
                </c:pt>
                <c:pt idx="393">
                  <c:v>55.61823715714285</c:v>
                </c:pt>
                <c:pt idx="394">
                  <c:v>49.014075400000003</c:v>
                </c:pt>
                <c:pt idx="395">
                  <c:v>78.093890928571426</c:v>
                </c:pt>
                <c:pt idx="396">
                  <c:v>81.476694014285712</c:v>
                </c:pt>
                <c:pt idx="397">
                  <c:v>81.493174642857142</c:v>
                </c:pt>
                <c:pt idx="398">
                  <c:v>153.66253365714286</c:v>
                </c:pt>
                <c:pt idx="399">
                  <c:v>153.65017561428573</c:v>
                </c:pt>
                <c:pt idx="400">
                  <c:v>153.65884101428574</c:v>
                </c:pt>
                <c:pt idx="401">
                  <c:v>151.63873927142859</c:v>
                </c:pt>
                <c:pt idx="402">
                  <c:v>130.75734677142856</c:v>
                </c:pt>
                <c:pt idx="403">
                  <c:v>130.8739734142857</c:v>
                </c:pt>
                <c:pt idx="404">
                  <c:v>130.95310254285715</c:v>
                </c:pt>
                <c:pt idx="405">
                  <c:v>35.121259557142857</c:v>
                </c:pt>
                <c:pt idx="406">
                  <c:v>35.893024085714288</c:v>
                </c:pt>
                <c:pt idx="407">
                  <c:v>35.898532571428568</c:v>
                </c:pt>
                <c:pt idx="408">
                  <c:v>44.413575899999998</c:v>
                </c:pt>
                <c:pt idx="409">
                  <c:v>87.520583671428568</c:v>
                </c:pt>
                <c:pt idx="410">
                  <c:v>97.384543799999989</c:v>
                </c:pt>
                <c:pt idx="411">
                  <c:v>106.39126871428572</c:v>
                </c:pt>
                <c:pt idx="412">
                  <c:v>115.50918434285714</c:v>
                </c:pt>
                <c:pt idx="413">
                  <c:v>123.86465198571427</c:v>
                </c:pt>
                <c:pt idx="414">
                  <c:v>132.98129355714283</c:v>
                </c:pt>
                <c:pt idx="415">
                  <c:v>135.76486988571429</c:v>
                </c:pt>
                <c:pt idx="416">
                  <c:v>110.28577180000001</c:v>
                </c:pt>
                <c:pt idx="417">
                  <c:v>109.51456467142859</c:v>
                </c:pt>
                <c:pt idx="418">
                  <c:v>109.73926191428572</c:v>
                </c:pt>
                <c:pt idx="419">
                  <c:v>109.76171718571429</c:v>
                </c:pt>
                <c:pt idx="420">
                  <c:v>110.53706501428572</c:v>
                </c:pt>
                <c:pt idx="421">
                  <c:v>110.54737338571429</c:v>
                </c:pt>
                <c:pt idx="422">
                  <c:v>135.22299685714285</c:v>
                </c:pt>
                <c:pt idx="423">
                  <c:v>134.08791442857142</c:v>
                </c:pt>
                <c:pt idx="424">
                  <c:v>134.80624817142854</c:v>
                </c:pt>
                <c:pt idx="425">
                  <c:v>134.66381479999998</c:v>
                </c:pt>
                <c:pt idx="426">
                  <c:v>134.64723037142858</c:v>
                </c:pt>
                <c:pt idx="427">
                  <c:v>134.64245264285711</c:v>
                </c:pt>
                <c:pt idx="428">
                  <c:v>134.64485611428569</c:v>
                </c:pt>
                <c:pt idx="429">
                  <c:v>115.0066093142857</c:v>
                </c:pt>
                <c:pt idx="430">
                  <c:v>124.38426179999999</c:v>
                </c:pt>
                <c:pt idx="431">
                  <c:v>123.01094768571427</c:v>
                </c:pt>
                <c:pt idx="432">
                  <c:v>123.74265904285713</c:v>
                </c:pt>
                <c:pt idx="433">
                  <c:v>123.75524792857142</c:v>
                </c:pt>
                <c:pt idx="434">
                  <c:v>122.99536267142855</c:v>
                </c:pt>
                <c:pt idx="435">
                  <c:v>122.99482038571428</c:v>
                </c:pt>
                <c:pt idx="436">
                  <c:v>114.12492438571427</c:v>
                </c:pt>
                <c:pt idx="437">
                  <c:v>129.96932997142855</c:v>
                </c:pt>
                <c:pt idx="438">
                  <c:v>130.10375007142855</c:v>
                </c:pt>
                <c:pt idx="439">
                  <c:v>130.10275118571428</c:v>
                </c:pt>
                <c:pt idx="440">
                  <c:v>130.86698728571426</c:v>
                </c:pt>
                <c:pt idx="441">
                  <c:v>130.87374111428571</c:v>
                </c:pt>
                <c:pt idx="442">
                  <c:v>130.87978484285716</c:v>
                </c:pt>
                <c:pt idx="443">
                  <c:v>129.88609545714286</c:v>
                </c:pt>
                <c:pt idx="444">
                  <c:v>136.31898582857141</c:v>
                </c:pt>
                <c:pt idx="445">
                  <c:v>137.11982134285714</c:v>
                </c:pt>
                <c:pt idx="446">
                  <c:v>137.04809765714282</c:v>
                </c:pt>
                <c:pt idx="447">
                  <c:v>137.04653381428571</c:v>
                </c:pt>
                <c:pt idx="448">
                  <c:v>137.81176879999998</c:v>
                </c:pt>
                <c:pt idx="449">
                  <c:v>138.55542442857143</c:v>
                </c:pt>
                <c:pt idx="450">
                  <c:v>139.31158175714287</c:v>
                </c:pt>
                <c:pt idx="451">
                  <c:v>111.86982838571427</c:v>
                </c:pt>
                <c:pt idx="452">
                  <c:v>111.83470562857143</c:v>
                </c:pt>
                <c:pt idx="453">
                  <c:v>111.83891838571428</c:v>
                </c:pt>
                <c:pt idx="454">
                  <c:v>111.07313305714285</c:v>
                </c:pt>
                <c:pt idx="455">
                  <c:v>110.3079777</c:v>
                </c:pt>
                <c:pt idx="456">
                  <c:v>110.32390342857143</c:v>
                </c:pt>
                <c:pt idx="457">
                  <c:v>130.55521685714285</c:v>
                </c:pt>
                <c:pt idx="458">
                  <c:v>141.80950934285715</c:v>
                </c:pt>
                <c:pt idx="459">
                  <c:v>138.99215637142856</c:v>
                </c:pt>
                <c:pt idx="460">
                  <c:v>139.02196014285715</c:v>
                </c:pt>
                <c:pt idx="461">
                  <c:v>139.03795137142856</c:v>
                </c:pt>
                <c:pt idx="462">
                  <c:v>139.03548287142857</c:v>
                </c:pt>
                <c:pt idx="463">
                  <c:v>138.99285989999998</c:v>
                </c:pt>
                <c:pt idx="464">
                  <c:v>143.64340797142856</c:v>
                </c:pt>
                <c:pt idx="465">
                  <c:v>148.94270879999999</c:v>
                </c:pt>
                <c:pt idx="466">
                  <c:v>151.67162264285713</c:v>
                </c:pt>
                <c:pt idx="467">
                  <c:v>150.81847064285716</c:v>
                </c:pt>
                <c:pt idx="468">
                  <c:v>151.51313302857142</c:v>
                </c:pt>
                <c:pt idx="469">
                  <c:v>152.21944287142856</c:v>
                </c:pt>
                <c:pt idx="470">
                  <c:v>151.47098834285711</c:v>
                </c:pt>
                <c:pt idx="471">
                  <c:v>140.93827311428569</c:v>
                </c:pt>
                <c:pt idx="472">
                  <c:v>140.59723034285713</c:v>
                </c:pt>
                <c:pt idx="473">
                  <c:v>175.50739247142857</c:v>
                </c:pt>
                <c:pt idx="474">
                  <c:v>176.57465965714283</c:v>
                </c:pt>
                <c:pt idx="475">
                  <c:v>176.63212932857144</c:v>
                </c:pt>
                <c:pt idx="476">
                  <c:v>176.6745426285714</c:v>
                </c:pt>
                <c:pt idx="477">
                  <c:v>177.46269554285715</c:v>
                </c:pt>
                <c:pt idx="478">
                  <c:v>164.85980407142856</c:v>
                </c:pt>
                <c:pt idx="479">
                  <c:v>159.46756122857141</c:v>
                </c:pt>
                <c:pt idx="480">
                  <c:v>125.29601215714284</c:v>
                </c:pt>
                <c:pt idx="481">
                  <c:v>125.01682479999998</c:v>
                </c:pt>
                <c:pt idx="482">
                  <c:v>125.02000994285713</c:v>
                </c:pt>
                <c:pt idx="483">
                  <c:v>125.02824041428572</c:v>
                </c:pt>
                <c:pt idx="484">
                  <c:v>156.62860424285714</c:v>
                </c:pt>
                <c:pt idx="485">
                  <c:v>158.10237004285713</c:v>
                </c:pt>
                <c:pt idx="486">
                  <c:v>162.35521271428573</c:v>
                </c:pt>
                <c:pt idx="487">
                  <c:v>162.49076222857144</c:v>
                </c:pt>
                <c:pt idx="488">
                  <c:v>162.48141695714281</c:v>
                </c:pt>
                <c:pt idx="489">
                  <c:v>162.48300952857144</c:v>
                </c:pt>
                <c:pt idx="490">
                  <c:v>162.47878921428568</c:v>
                </c:pt>
                <c:pt idx="491">
                  <c:v>130.87683280000002</c:v>
                </c:pt>
                <c:pt idx="492">
                  <c:v>153.13015479999999</c:v>
                </c:pt>
                <c:pt idx="493">
                  <c:v>151.77832161428572</c:v>
                </c:pt>
                <c:pt idx="494">
                  <c:v>151.24090831428572</c:v>
                </c:pt>
                <c:pt idx="495">
                  <c:v>151.25578424285712</c:v>
                </c:pt>
                <c:pt idx="496">
                  <c:v>151.23778818571427</c:v>
                </c:pt>
                <c:pt idx="497">
                  <c:v>151.22241987142857</c:v>
                </c:pt>
                <c:pt idx="498">
                  <c:v>150.43950734285713</c:v>
                </c:pt>
                <c:pt idx="499">
                  <c:v>131.45334605714285</c:v>
                </c:pt>
                <c:pt idx="500">
                  <c:v>126.98723105714286</c:v>
                </c:pt>
                <c:pt idx="501">
                  <c:v>127.05252650000001</c:v>
                </c:pt>
                <c:pt idx="502">
                  <c:v>127.04788637142858</c:v>
                </c:pt>
                <c:pt idx="503">
                  <c:v>126.99610611428572</c:v>
                </c:pt>
                <c:pt idx="504">
                  <c:v>126.9654491142857</c:v>
                </c:pt>
                <c:pt idx="505">
                  <c:v>127.6953290142857</c:v>
                </c:pt>
                <c:pt idx="506">
                  <c:v>112.19417055714287</c:v>
                </c:pt>
                <c:pt idx="507">
                  <c:v>178.28083131428571</c:v>
                </c:pt>
                <c:pt idx="508">
                  <c:v>166.01440307142857</c:v>
                </c:pt>
                <c:pt idx="509">
                  <c:v>165.90069345714284</c:v>
                </c:pt>
                <c:pt idx="510">
                  <c:v>165.89689295714285</c:v>
                </c:pt>
                <c:pt idx="511">
                  <c:v>165.89705221428568</c:v>
                </c:pt>
                <c:pt idx="512">
                  <c:v>165.1382671428571</c:v>
                </c:pt>
                <c:pt idx="513">
                  <c:v>164.37934448571428</c:v>
                </c:pt>
                <c:pt idx="514">
                  <c:v>166.05049934285714</c:v>
                </c:pt>
                <c:pt idx="515">
                  <c:v>165.33266852857142</c:v>
                </c:pt>
                <c:pt idx="516">
                  <c:v>165.33320425714282</c:v>
                </c:pt>
                <c:pt idx="517">
                  <c:v>165.33808377142856</c:v>
                </c:pt>
                <c:pt idx="518">
                  <c:v>165.33776525714285</c:v>
                </c:pt>
                <c:pt idx="519">
                  <c:v>166.09801992857143</c:v>
                </c:pt>
                <c:pt idx="520">
                  <c:v>166.86129342857143</c:v>
                </c:pt>
                <c:pt idx="521">
                  <c:v>68.389446199999995</c:v>
                </c:pt>
                <c:pt idx="522">
                  <c:v>68.346624199999994</c:v>
                </c:pt>
                <c:pt idx="523">
                  <c:v>67.585254728571428</c:v>
                </c:pt>
                <c:pt idx="524">
                  <c:v>66.820634600000005</c:v>
                </c:pt>
                <c:pt idx="525">
                  <c:v>66.820316085714282</c:v>
                </c:pt>
                <c:pt idx="526">
                  <c:v>66.060379928571422</c:v>
                </c:pt>
                <c:pt idx="527">
                  <c:v>66.060090142857135</c:v>
                </c:pt>
                <c:pt idx="528">
                  <c:v>65.299893428571423</c:v>
                </c:pt>
                <c:pt idx="529">
                  <c:v>66.059634042857141</c:v>
                </c:pt>
                <c:pt idx="530">
                  <c:v>66.821300357142846</c:v>
                </c:pt>
                <c:pt idx="531">
                  <c:v>67.58016505714285</c:v>
                </c:pt>
                <c:pt idx="532">
                  <c:v>66.820344814285718</c:v>
                </c:pt>
                <c:pt idx="533">
                  <c:v>66.820402771428562</c:v>
                </c:pt>
                <c:pt idx="534">
                  <c:v>66.091372557142861</c:v>
                </c:pt>
                <c:pt idx="535">
                  <c:v>66.882004499999994</c:v>
                </c:pt>
                <c:pt idx="536">
                  <c:v>66.123118128571434</c:v>
                </c:pt>
                <c:pt idx="537">
                  <c:v>65.360300728571431</c:v>
                </c:pt>
                <c:pt idx="538">
                  <c:v>65.361256271428573</c:v>
                </c:pt>
                <c:pt idx="539">
                  <c:v>65.362450699999997</c:v>
                </c:pt>
                <c:pt idx="540">
                  <c:v>65.361755714285707</c:v>
                </c:pt>
                <c:pt idx="541">
                  <c:v>70.206804685714275</c:v>
                </c:pt>
                <c:pt idx="542">
                  <c:v>70.194112514285706</c:v>
                </c:pt>
                <c:pt idx="543">
                  <c:v>73.159806785714281</c:v>
                </c:pt>
                <c:pt idx="544">
                  <c:v>74.296277042857142</c:v>
                </c:pt>
                <c:pt idx="545">
                  <c:v>74.333024100000003</c:v>
                </c:pt>
                <c:pt idx="546">
                  <c:v>75.103355314285722</c:v>
                </c:pt>
                <c:pt idx="547">
                  <c:v>75.883894100000006</c:v>
                </c:pt>
                <c:pt idx="548">
                  <c:v>104.02085837142856</c:v>
                </c:pt>
                <c:pt idx="549">
                  <c:v>104.2356887285714</c:v>
                </c:pt>
                <c:pt idx="550">
                  <c:v>115.40250265714283</c:v>
                </c:pt>
                <c:pt idx="551">
                  <c:v>115.56471102857142</c:v>
                </c:pt>
                <c:pt idx="552">
                  <c:v>115.55607285714287</c:v>
                </c:pt>
                <c:pt idx="553">
                  <c:v>114.80556915714284</c:v>
                </c:pt>
                <c:pt idx="554">
                  <c:v>114.14600174285714</c:v>
                </c:pt>
                <c:pt idx="555">
                  <c:v>81.218343099999984</c:v>
                </c:pt>
                <c:pt idx="556">
                  <c:v>81.002252799999994</c:v>
                </c:pt>
                <c:pt idx="557">
                  <c:v>67.739872099999999</c:v>
                </c:pt>
                <c:pt idx="558">
                  <c:v>67.220204199999998</c:v>
                </c:pt>
                <c:pt idx="559">
                  <c:v>67.211683942857135</c:v>
                </c:pt>
                <c:pt idx="560">
                  <c:v>67.204915514285716</c:v>
                </c:pt>
                <c:pt idx="561">
                  <c:v>67.859212328571431</c:v>
                </c:pt>
                <c:pt idx="562">
                  <c:v>68.601963328571429</c:v>
                </c:pt>
                <c:pt idx="563">
                  <c:v>68.642237214285714</c:v>
                </c:pt>
                <c:pt idx="564">
                  <c:v>69.107214385714286</c:v>
                </c:pt>
                <c:pt idx="565">
                  <c:v>68.356949571428558</c:v>
                </c:pt>
                <c:pt idx="566">
                  <c:v>68.353127399999991</c:v>
                </c:pt>
                <c:pt idx="567">
                  <c:v>68.356073657142858</c:v>
                </c:pt>
                <c:pt idx="568">
                  <c:v>68.354930128571425</c:v>
                </c:pt>
                <c:pt idx="569">
                  <c:v>68.340386828571425</c:v>
                </c:pt>
                <c:pt idx="570">
                  <c:v>60.142534000000005</c:v>
                </c:pt>
                <c:pt idx="571">
                  <c:v>49.795775514285708</c:v>
                </c:pt>
                <c:pt idx="572">
                  <c:v>40.673559942857146</c:v>
                </c:pt>
                <c:pt idx="573">
                  <c:v>30.805060985714285</c:v>
                </c:pt>
                <c:pt idx="574">
                  <c:v>21.692480471428574</c:v>
                </c:pt>
                <c:pt idx="575">
                  <c:v>11.819949185714284</c:v>
                </c:pt>
                <c:pt idx="576">
                  <c:v>1.9441244</c:v>
                </c:pt>
                <c:pt idx="577">
                  <c:v>0.22544412857142859</c:v>
                </c:pt>
                <c:pt idx="578">
                  <c:v>0.20894539999999998</c:v>
                </c:pt>
                <c:pt idx="579">
                  <c:v>0.23044511428571429</c:v>
                </c:pt>
                <c:pt idx="580">
                  <c:v>0.22526925714285714</c:v>
                </c:pt>
                <c:pt idx="581">
                  <c:v>0.22200448571428572</c:v>
                </c:pt>
                <c:pt idx="582">
                  <c:v>0.22096931428571429</c:v>
                </c:pt>
                <c:pt idx="583">
                  <c:v>0.18879935714285717</c:v>
                </c:pt>
                <c:pt idx="584">
                  <c:v>1.1414819142857142</c:v>
                </c:pt>
                <c:pt idx="585">
                  <c:v>1.876084557142857</c:v>
                </c:pt>
                <c:pt idx="586">
                  <c:v>1.9542525428571429</c:v>
                </c:pt>
                <c:pt idx="587">
                  <c:v>1.9867802857142856</c:v>
                </c:pt>
                <c:pt idx="588">
                  <c:v>1.9841525428571427</c:v>
                </c:pt>
                <c:pt idx="589">
                  <c:v>2.7426992285714284</c:v>
                </c:pt>
                <c:pt idx="590">
                  <c:v>2.7868235142857145</c:v>
                </c:pt>
                <c:pt idx="591">
                  <c:v>1.8306957571428573</c:v>
                </c:pt>
                <c:pt idx="592">
                  <c:v>1.0476285285714284</c:v>
                </c:pt>
                <c:pt idx="593">
                  <c:v>0.94815637142857145</c:v>
                </c:pt>
                <c:pt idx="594">
                  <c:v>0.90967865714285712</c:v>
                </c:pt>
                <c:pt idx="595">
                  <c:v>0.90259171428571427</c:v>
                </c:pt>
                <c:pt idx="596">
                  <c:v>0.13425071428571428</c:v>
                </c:pt>
                <c:pt idx="597">
                  <c:v>7.9876514285714295E-2</c:v>
                </c:pt>
                <c:pt idx="598">
                  <c:v>8.5849157142857138E-2</c:v>
                </c:pt>
                <c:pt idx="599">
                  <c:v>5.3251842857142857E-2</c:v>
                </c:pt>
                <c:pt idx="600">
                  <c:v>3.9041671428571421E-2</c:v>
                </c:pt>
                <c:pt idx="601">
                  <c:v>0.79310648571428566</c:v>
                </c:pt>
                <c:pt idx="602">
                  <c:v>0.79302685714285703</c:v>
                </c:pt>
                <c:pt idx="603">
                  <c:v>0.88888599999999995</c:v>
                </c:pt>
                <c:pt idx="604">
                  <c:v>8.7468511714285704</c:v>
                </c:pt>
                <c:pt idx="605">
                  <c:v>8.7370775285714295</c:v>
                </c:pt>
                <c:pt idx="606">
                  <c:v>11.770771557142856</c:v>
                </c:pt>
                <c:pt idx="607">
                  <c:v>11.862344428571429</c:v>
                </c:pt>
                <c:pt idx="608">
                  <c:v>11.105868585714287</c:v>
                </c:pt>
                <c:pt idx="609">
                  <c:v>11.108177814285716</c:v>
                </c:pt>
                <c:pt idx="610">
                  <c:v>11.035702242857145</c:v>
                </c:pt>
                <c:pt idx="611">
                  <c:v>30.798644671428573</c:v>
                </c:pt>
                <c:pt idx="612">
                  <c:v>36.745470742857144</c:v>
                </c:pt>
                <c:pt idx="613">
                  <c:v>45.698378500000004</c:v>
                </c:pt>
                <c:pt idx="614">
                  <c:v>45.642718114285707</c:v>
                </c:pt>
                <c:pt idx="615">
                  <c:v>45.736456014285707</c:v>
                </c:pt>
                <c:pt idx="616">
                  <c:v>45.738164499999996</c:v>
                </c:pt>
                <c:pt idx="617">
                  <c:v>45.717966071428577</c:v>
                </c:pt>
                <c:pt idx="618">
                  <c:v>43.726052785714288</c:v>
                </c:pt>
                <c:pt idx="619">
                  <c:v>43.760281700000007</c:v>
                </c:pt>
                <c:pt idx="620">
                  <c:v>45.125014300000011</c:v>
                </c:pt>
                <c:pt idx="621">
                  <c:v>45.875575957142857</c:v>
                </c:pt>
                <c:pt idx="622">
                  <c:v>45.781838057142856</c:v>
                </c:pt>
                <c:pt idx="623">
                  <c:v>45.780129571428574</c:v>
                </c:pt>
                <c:pt idx="624">
                  <c:v>45.77997031428572</c:v>
                </c:pt>
                <c:pt idx="625">
                  <c:v>45.37760758571428</c:v>
                </c:pt>
                <c:pt idx="626">
                  <c:v>45.306028542857142</c:v>
                </c:pt>
                <c:pt idx="627">
                  <c:v>45.371928228571434</c:v>
                </c:pt>
                <c:pt idx="628">
                  <c:v>44.619513442857148</c:v>
                </c:pt>
                <c:pt idx="629">
                  <c:v>44.619267499999992</c:v>
                </c:pt>
                <c:pt idx="630">
                  <c:v>44.617356414285716</c:v>
                </c:pt>
                <c:pt idx="631">
                  <c:v>45.143036742857142</c:v>
                </c:pt>
                <c:pt idx="632">
                  <c:v>47.720602314285706</c:v>
                </c:pt>
                <c:pt idx="633">
                  <c:v>48.413084242857146</c:v>
                </c:pt>
                <c:pt idx="634">
                  <c:v>47.907265128571417</c:v>
                </c:pt>
                <c:pt idx="635">
                  <c:v>47.978366399999992</c:v>
                </c:pt>
                <c:pt idx="636">
                  <c:v>48.748422442857141</c:v>
                </c:pt>
                <c:pt idx="637">
                  <c:v>48.757022328571431</c:v>
                </c:pt>
                <c:pt idx="638">
                  <c:v>48.998806585714291</c:v>
                </c:pt>
                <c:pt idx="639">
                  <c:v>50.748739742857133</c:v>
                </c:pt>
                <c:pt idx="640">
                  <c:v>51.277366442857144</c:v>
                </c:pt>
                <c:pt idx="641">
                  <c:v>52.862677485714286</c:v>
                </c:pt>
                <c:pt idx="642">
                  <c:v>53.696142985714282</c:v>
                </c:pt>
                <c:pt idx="643">
                  <c:v>53.692364157142848</c:v>
                </c:pt>
                <c:pt idx="644">
                  <c:v>54.448919628571424</c:v>
                </c:pt>
                <c:pt idx="645">
                  <c:v>54.795978042857143</c:v>
                </c:pt>
                <c:pt idx="646">
                  <c:v>45.988260600000004</c:v>
                </c:pt>
                <c:pt idx="647">
                  <c:v>46.262342171428578</c:v>
                </c:pt>
                <c:pt idx="648">
                  <c:v>46.489835800000002</c:v>
                </c:pt>
                <c:pt idx="649">
                  <c:v>46.767256557142858</c:v>
                </c:pt>
                <c:pt idx="650">
                  <c:v>46.970992200000005</c:v>
                </c:pt>
                <c:pt idx="651">
                  <c:v>46.977043971428586</c:v>
                </c:pt>
                <c:pt idx="652">
                  <c:v>46.6518037857143</c:v>
                </c:pt>
                <c:pt idx="653">
                  <c:v>55.16545287142857</c:v>
                </c:pt>
                <c:pt idx="654">
                  <c:v>55.844779414285718</c:v>
                </c:pt>
                <c:pt idx="655">
                  <c:v>56.406957214285704</c:v>
                </c:pt>
                <c:pt idx="656">
                  <c:v>56.050186671428563</c:v>
                </c:pt>
                <c:pt idx="657">
                  <c:v>55.846291771428575</c:v>
                </c:pt>
                <c:pt idx="658">
                  <c:v>55.840160371428574</c:v>
                </c:pt>
                <c:pt idx="659">
                  <c:v>55.8156131</c:v>
                </c:pt>
                <c:pt idx="660">
                  <c:v>46.772035799999991</c:v>
                </c:pt>
                <c:pt idx="661">
                  <c:v>47.215126685714282</c:v>
                </c:pt>
                <c:pt idx="662">
                  <c:v>47.047472228571436</c:v>
                </c:pt>
                <c:pt idx="663">
                  <c:v>46.986846142857139</c:v>
                </c:pt>
                <c:pt idx="664">
                  <c:v>47.013442085714289</c:v>
                </c:pt>
                <c:pt idx="665">
                  <c:v>47.043223171428565</c:v>
                </c:pt>
                <c:pt idx="666">
                  <c:v>47.069681528571429</c:v>
                </c:pt>
                <c:pt idx="667">
                  <c:v>55.756522785714274</c:v>
                </c:pt>
                <c:pt idx="668">
                  <c:v>54.928615700000002</c:v>
                </c:pt>
                <c:pt idx="669">
                  <c:v>55.103740400000007</c:v>
                </c:pt>
                <c:pt idx="670">
                  <c:v>55.093873514285725</c:v>
                </c:pt>
                <c:pt idx="671">
                  <c:v>55.073647857142866</c:v>
                </c:pt>
                <c:pt idx="672">
                  <c:v>55.049759285714288</c:v>
                </c:pt>
                <c:pt idx="673">
                  <c:v>55.028418828571425</c:v>
                </c:pt>
                <c:pt idx="674">
                  <c:v>45.247820985714284</c:v>
                </c:pt>
                <c:pt idx="675">
                  <c:v>45.529561014285719</c:v>
                </c:pt>
                <c:pt idx="676">
                  <c:v>45.334869357142857</c:v>
                </c:pt>
                <c:pt idx="677">
                  <c:v>45.443791657142867</c:v>
                </c:pt>
                <c:pt idx="678">
                  <c:v>45.454461885714288</c:v>
                </c:pt>
                <c:pt idx="679">
                  <c:v>45.47086537142858</c:v>
                </c:pt>
                <c:pt idx="680">
                  <c:v>45.49457301428572</c:v>
                </c:pt>
                <c:pt idx="681">
                  <c:v>31.258553528571429</c:v>
                </c:pt>
                <c:pt idx="682">
                  <c:v>24.178335828571424</c:v>
                </c:pt>
                <c:pt idx="683">
                  <c:v>21.613021428571432</c:v>
                </c:pt>
                <c:pt idx="684">
                  <c:v>21.618447714285711</c:v>
                </c:pt>
                <c:pt idx="685">
                  <c:v>21.660966314285712</c:v>
                </c:pt>
                <c:pt idx="686">
                  <c:v>21.649738685714286</c:v>
                </c:pt>
                <c:pt idx="687">
                  <c:v>21.623960700000001</c:v>
                </c:pt>
                <c:pt idx="688">
                  <c:v>33.214418785714287</c:v>
                </c:pt>
                <c:pt idx="689">
                  <c:v>37.386542728571435</c:v>
                </c:pt>
                <c:pt idx="690">
                  <c:v>37.277712628571429</c:v>
                </c:pt>
                <c:pt idx="691">
                  <c:v>46.730091742857148</c:v>
                </c:pt>
                <c:pt idx="692">
                  <c:v>46.666312314285719</c:v>
                </c:pt>
                <c:pt idx="693">
                  <c:v>55.763843028571429</c:v>
                </c:pt>
                <c:pt idx="694">
                  <c:v>56.091803699999993</c:v>
                </c:pt>
                <c:pt idx="695">
                  <c:v>64.398936157142856</c:v>
                </c:pt>
                <c:pt idx="696">
                  <c:v>74.144679814285709</c:v>
                </c:pt>
                <c:pt idx="697">
                  <c:v>83.404268814285714</c:v>
                </c:pt>
                <c:pt idx="698">
                  <c:v>83.607636499999998</c:v>
                </c:pt>
                <c:pt idx="699">
                  <c:v>92.753979528571435</c:v>
                </c:pt>
                <c:pt idx="700">
                  <c:v>92.76472938571429</c:v>
                </c:pt>
                <c:pt idx="701">
                  <c:v>101.54677944285713</c:v>
                </c:pt>
                <c:pt idx="702">
                  <c:v>95.414923557142856</c:v>
                </c:pt>
                <c:pt idx="703">
                  <c:v>90.486116928571434</c:v>
                </c:pt>
                <c:pt idx="704">
                  <c:v>78.69563577142857</c:v>
                </c:pt>
                <c:pt idx="705">
                  <c:v>78.026256242857144</c:v>
                </c:pt>
                <c:pt idx="706">
                  <c:v>78.004814485714277</c:v>
                </c:pt>
                <c:pt idx="707">
                  <c:v>78.00688482857143</c:v>
                </c:pt>
                <c:pt idx="708">
                  <c:v>105.18987475714286</c:v>
                </c:pt>
                <c:pt idx="709">
                  <c:v>100.94798057142854</c:v>
                </c:pt>
                <c:pt idx="710">
                  <c:v>189.51347890000002</c:v>
                </c:pt>
                <c:pt idx="711">
                  <c:v>191.32008511428575</c:v>
                </c:pt>
                <c:pt idx="712">
                  <c:v>191.38818922857143</c:v>
                </c:pt>
                <c:pt idx="713">
                  <c:v>191.39474044285717</c:v>
                </c:pt>
                <c:pt idx="714">
                  <c:v>191.4032607</c:v>
                </c:pt>
                <c:pt idx="715">
                  <c:v>164.22793678571429</c:v>
                </c:pt>
                <c:pt idx="716">
                  <c:v>187.39979615714287</c:v>
                </c:pt>
                <c:pt idx="717">
                  <c:v>98.809453714285709</c:v>
                </c:pt>
                <c:pt idx="718">
                  <c:v>96.973305299999993</c:v>
                </c:pt>
                <c:pt idx="719">
                  <c:v>97.795137771428571</c:v>
                </c:pt>
                <c:pt idx="720">
                  <c:v>97.818867085714274</c:v>
                </c:pt>
                <c:pt idx="721">
                  <c:v>97.825715142857121</c:v>
                </c:pt>
                <c:pt idx="722">
                  <c:v>97.813611599999987</c:v>
                </c:pt>
                <c:pt idx="723">
                  <c:v>92.5509299</c:v>
                </c:pt>
                <c:pt idx="724">
                  <c:v>96.953472214285711</c:v>
                </c:pt>
                <c:pt idx="725">
                  <c:v>109.7146691142857</c:v>
                </c:pt>
                <c:pt idx="726">
                  <c:v>109.59986687142855</c:v>
                </c:pt>
                <c:pt idx="727">
                  <c:v>109.62253229999999</c:v>
                </c:pt>
                <c:pt idx="728">
                  <c:v>109.63813949999999</c:v>
                </c:pt>
                <c:pt idx="729">
                  <c:v>109.67421124285714</c:v>
                </c:pt>
                <c:pt idx="730">
                  <c:v>108.21512582857143</c:v>
                </c:pt>
                <c:pt idx="731">
                  <c:v>108.97073505714285</c:v>
                </c:pt>
                <c:pt idx="732">
                  <c:v>109.21193004285715</c:v>
                </c:pt>
                <c:pt idx="733">
                  <c:v>109.21486824285714</c:v>
                </c:pt>
                <c:pt idx="734">
                  <c:v>109.20573968571431</c:v>
                </c:pt>
                <c:pt idx="735">
                  <c:v>109.2213469</c:v>
                </c:pt>
                <c:pt idx="736">
                  <c:v>109.22485055714287</c:v>
                </c:pt>
                <c:pt idx="737">
                  <c:v>116.56469472857144</c:v>
                </c:pt>
                <c:pt idx="738">
                  <c:v>115.11804238571428</c:v>
                </c:pt>
                <c:pt idx="739">
                  <c:v>116.07218127142858</c:v>
                </c:pt>
                <c:pt idx="740">
                  <c:v>116.15480045714285</c:v>
                </c:pt>
                <c:pt idx="741">
                  <c:v>115.39306912857144</c:v>
                </c:pt>
                <c:pt idx="742">
                  <c:v>115.37698414285714</c:v>
                </c:pt>
                <c:pt idx="743">
                  <c:v>115.37117125714285</c:v>
                </c:pt>
                <c:pt idx="744">
                  <c:v>107.94604487142855</c:v>
                </c:pt>
                <c:pt idx="745">
                  <c:v>110.7287343</c:v>
                </c:pt>
                <c:pt idx="746">
                  <c:v>111.17088258571428</c:v>
                </c:pt>
                <c:pt idx="747">
                  <c:v>111.17147527142856</c:v>
                </c:pt>
                <c:pt idx="748">
                  <c:v>111.93639174285715</c:v>
                </c:pt>
                <c:pt idx="749">
                  <c:v>111.94164724285714</c:v>
                </c:pt>
                <c:pt idx="750">
                  <c:v>111.94857492857145</c:v>
                </c:pt>
                <c:pt idx="751">
                  <c:v>109.75687784285712</c:v>
                </c:pt>
                <c:pt idx="752">
                  <c:v>109.60391132857141</c:v>
                </c:pt>
                <c:pt idx="753">
                  <c:v>109.52197352857142</c:v>
                </c:pt>
                <c:pt idx="754">
                  <c:v>109.50111084285713</c:v>
                </c:pt>
                <c:pt idx="755">
                  <c:v>109.51679767142856</c:v>
                </c:pt>
                <c:pt idx="756">
                  <c:v>109.52165501428571</c:v>
                </c:pt>
                <c:pt idx="757">
                  <c:v>108.75291637142857</c:v>
                </c:pt>
                <c:pt idx="758">
                  <c:v>114.02990250000001</c:v>
                </c:pt>
                <c:pt idx="759">
                  <c:v>113.63375031428571</c:v>
                </c:pt>
                <c:pt idx="760">
                  <c:v>113.42408825714286</c:v>
                </c:pt>
                <c:pt idx="761">
                  <c:v>113.41206434285714</c:v>
                </c:pt>
                <c:pt idx="762">
                  <c:v>112.64459975714286</c:v>
                </c:pt>
                <c:pt idx="763">
                  <c:v>112.66506430000001</c:v>
                </c:pt>
                <c:pt idx="764">
                  <c:v>113.46533587142858</c:v>
                </c:pt>
                <c:pt idx="765">
                  <c:v>109.30983438571427</c:v>
                </c:pt>
                <c:pt idx="766">
                  <c:v>108.3872533142857</c:v>
                </c:pt>
                <c:pt idx="767">
                  <c:v>108.02128034285715</c:v>
                </c:pt>
                <c:pt idx="768">
                  <c:v>126.8106794142857</c:v>
                </c:pt>
                <c:pt idx="769">
                  <c:v>127.67027427142857</c:v>
                </c:pt>
                <c:pt idx="770">
                  <c:v>126.89580237142859</c:v>
                </c:pt>
                <c:pt idx="771">
                  <c:v>126.86618052857145</c:v>
                </c:pt>
                <c:pt idx="772">
                  <c:v>106.29533081428575</c:v>
                </c:pt>
                <c:pt idx="773">
                  <c:v>101.32913937142858</c:v>
                </c:pt>
                <c:pt idx="774">
                  <c:v>86.878617785714283</c:v>
                </c:pt>
                <c:pt idx="775">
                  <c:v>66.54418102857143</c:v>
                </c:pt>
                <c:pt idx="776">
                  <c:v>66.450298928571428</c:v>
                </c:pt>
                <c:pt idx="777">
                  <c:v>67.230105942857136</c:v>
                </c:pt>
                <c:pt idx="778">
                  <c:v>67.223894914285708</c:v>
                </c:pt>
                <c:pt idx="779">
                  <c:v>93.117043714285728</c:v>
                </c:pt>
                <c:pt idx="780">
                  <c:v>99.553023842857144</c:v>
                </c:pt>
                <c:pt idx="781">
                  <c:v>100.33983818571429</c:v>
                </c:pt>
                <c:pt idx="782">
                  <c:v>115.31224548571429</c:v>
                </c:pt>
                <c:pt idx="783">
                  <c:v>114.54971787142858</c:v>
                </c:pt>
                <c:pt idx="784">
                  <c:v>113.78097922857144</c:v>
                </c:pt>
                <c:pt idx="785">
                  <c:v>113.02561818571429</c:v>
                </c:pt>
                <c:pt idx="786">
                  <c:v>115.82973438571427</c:v>
                </c:pt>
                <c:pt idx="787">
                  <c:v>113.43904115714285</c:v>
                </c:pt>
                <c:pt idx="788">
                  <c:v>128.18354714285715</c:v>
                </c:pt>
                <c:pt idx="789">
                  <c:v>114.05583982857141</c:v>
                </c:pt>
                <c:pt idx="790">
                  <c:v>114.83254132857141</c:v>
                </c:pt>
                <c:pt idx="791">
                  <c:v>114.8333376142857</c:v>
                </c:pt>
                <c:pt idx="792">
                  <c:v>115.60088184285712</c:v>
                </c:pt>
                <c:pt idx="793">
                  <c:v>95.32481715714286</c:v>
                </c:pt>
                <c:pt idx="794">
                  <c:v>91.285657342857135</c:v>
                </c:pt>
                <c:pt idx="795">
                  <c:v>81.93319645714287</c:v>
                </c:pt>
                <c:pt idx="796">
                  <c:v>81.442206628571427</c:v>
                </c:pt>
                <c:pt idx="797">
                  <c:v>81.427236457142854</c:v>
                </c:pt>
                <c:pt idx="798">
                  <c:v>81.41847731428571</c:v>
                </c:pt>
                <c:pt idx="799">
                  <c:v>80.648862742857119</c:v>
                </c:pt>
                <c:pt idx="800">
                  <c:v>81.308271342857125</c:v>
                </c:pt>
                <c:pt idx="801">
                  <c:v>81.298322071428558</c:v>
                </c:pt>
                <c:pt idx="802">
                  <c:v>82.19996082857142</c:v>
                </c:pt>
                <c:pt idx="803">
                  <c:v>83.027783871428568</c:v>
                </c:pt>
                <c:pt idx="804">
                  <c:v>82.270670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80-4D44-B5FB-C7344E7BB008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rgbClr val="7030A0"/>
            </a:solidFill>
            <a:ln w="12700">
              <a:solidFill>
                <a:srgbClr val="7030A0"/>
              </a:solidFill>
            </a:ln>
            <a:effectLst/>
          </c:spPr>
          <c:invertIfNegative val="0"/>
          <c:cat>
            <c:numRef>
              <c:f>Sheet1!$A$2:$A$806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H$2:$H$806</c:f>
              <c:numCache>
                <c:formatCode>#,##0</c:formatCode>
                <c:ptCount val="8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.90515135714285722</c:v>
                </c:pt>
                <c:pt idx="413">
                  <c:v>3.4483323714285716</c:v>
                </c:pt>
                <c:pt idx="414">
                  <c:v>8.2147391571428585</c:v>
                </c:pt>
                <c:pt idx="415">
                  <c:v>15.663356428571429</c:v>
                </c:pt>
                <c:pt idx="416">
                  <c:v>26.145679214285714</c:v>
                </c:pt>
                <c:pt idx="417">
                  <c:v>39.922014328571429</c:v>
                </c:pt>
                <c:pt idx="418">
                  <c:v>57.175652642857145</c:v>
                </c:pt>
                <c:pt idx="419">
                  <c:v>77.120018514285704</c:v>
                </c:pt>
                <c:pt idx="420">
                  <c:v>99.086751257142851</c:v>
                </c:pt>
                <c:pt idx="421">
                  <c:v>122.51032904285714</c:v>
                </c:pt>
                <c:pt idx="422">
                  <c:v>146.91454870000001</c:v>
                </c:pt>
                <c:pt idx="423">
                  <c:v>171.9006474285714</c:v>
                </c:pt>
                <c:pt idx="424">
                  <c:v>197.13687640000003</c:v>
                </c:pt>
                <c:pt idx="425">
                  <c:v>222.34935751428571</c:v>
                </c:pt>
                <c:pt idx="426">
                  <c:v>247.31407338571427</c:v>
                </c:pt>
                <c:pt idx="427">
                  <c:v>268.61839272857145</c:v>
                </c:pt>
                <c:pt idx="428">
                  <c:v>286.24264125714291</c:v>
                </c:pt>
                <c:pt idx="429">
                  <c:v>300.20403742857144</c:v>
                </c:pt>
                <c:pt idx="430">
                  <c:v>310.54984901428577</c:v>
                </c:pt>
                <c:pt idx="431">
                  <c:v>317.35151802857143</c:v>
                </c:pt>
                <c:pt idx="432">
                  <c:v>320.6996317</c:v>
                </c:pt>
                <c:pt idx="433">
                  <c:v>320.6996317</c:v>
                </c:pt>
                <c:pt idx="434">
                  <c:v>320.6996317</c:v>
                </c:pt>
                <c:pt idx="435">
                  <c:v>320.6996317</c:v>
                </c:pt>
                <c:pt idx="436">
                  <c:v>320.6996317</c:v>
                </c:pt>
                <c:pt idx="437">
                  <c:v>320.6996317</c:v>
                </c:pt>
                <c:pt idx="438">
                  <c:v>320.6996317</c:v>
                </c:pt>
                <c:pt idx="439">
                  <c:v>320.6996317</c:v>
                </c:pt>
                <c:pt idx="440">
                  <c:v>320.6996317</c:v>
                </c:pt>
                <c:pt idx="441">
                  <c:v>320.6996317</c:v>
                </c:pt>
                <c:pt idx="442">
                  <c:v>320.6996317</c:v>
                </c:pt>
                <c:pt idx="443">
                  <c:v>320.6996317</c:v>
                </c:pt>
                <c:pt idx="444">
                  <c:v>320.6996317</c:v>
                </c:pt>
                <c:pt idx="445">
                  <c:v>320.6996317</c:v>
                </c:pt>
                <c:pt idx="446">
                  <c:v>320.6996317</c:v>
                </c:pt>
                <c:pt idx="447">
                  <c:v>320.6996317</c:v>
                </c:pt>
                <c:pt idx="448">
                  <c:v>320.6996317</c:v>
                </c:pt>
                <c:pt idx="449">
                  <c:v>320.6996317</c:v>
                </c:pt>
                <c:pt idx="450">
                  <c:v>320.6996317</c:v>
                </c:pt>
                <c:pt idx="451">
                  <c:v>320.6996317</c:v>
                </c:pt>
                <c:pt idx="452">
                  <c:v>320.6996317</c:v>
                </c:pt>
                <c:pt idx="453">
                  <c:v>320.6996317</c:v>
                </c:pt>
                <c:pt idx="454">
                  <c:v>320.6996317</c:v>
                </c:pt>
                <c:pt idx="455">
                  <c:v>320.6996317</c:v>
                </c:pt>
                <c:pt idx="456">
                  <c:v>320.6996317</c:v>
                </c:pt>
                <c:pt idx="457">
                  <c:v>320.6996317</c:v>
                </c:pt>
                <c:pt idx="458">
                  <c:v>320.6996317</c:v>
                </c:pt>
                <c:pt idx="459">
                  <c:v>320.6996317</c:v>
                </c:pt>
                <c:pt idx="460">
                  <c:v>320.6996317</c:v>
                </c:pt>
                <c:pt idx="461">
                  <c:v>320.6996317</c:v>
                </c:pt>
                <c:pt idx="462">
                  <c:v>320.6996317</c:v>
                </c:pt>
                <c:pt idx="463">
                  <c:v>320.6996317</c:v>
                </c:pt>
                <c:pt idx="464">
                  <c:v>320.6996317</c:v>
                </c:pt>
                <c:pt idx="465">
                  <c:v>320.6996317</c:v>
                </c:pt>
                <c:pt idx="466">
                  <c:v>320.6996317</c:v>
                </c:pt>
                <c:pt idx="467">
                  <c:v>320.6996317</c:v>
                </c:pt>
                <c:pt idx="468">
                  <c:v>320.6996317</c:v>
                </c:pt>
                <c:pt idx="469">
                  <c:v>320.6996317</c:v>
                </c:pt>
                <c:pt idx="470">
                  <c:v>320.6996317</c:v>
                </c:pt>
                <c:pt idx="471">
                  <c:v>320.6996317</c:v>
                </c:pt>
                <c:pt idx="472">
                  <c:v>320.6996317</c:v>
                </c:pt>
                <c:pt idx="473">
                  <c:v>320.6996317</c:v>
                </c:pt>
                <c:pt idx="474">
                  <c:v>320.6996317</c:v>
                </c:pt>
                <c:pt idx="475">
                  <c:v>320.6996317</c:v>
                </c:pt>
                <c:pt idx="476">
                  <c:v>320.6996317</c:v>
                </c:pt>
                <c:pt idx="477">
                  <c:v>320.6996317</c:v>
                </c:pt>
                <c:pt idx="478">
                  <c:v>320.6996317</c:v>
                </c:pt>
                <c:pt idx="479">
                  <c:v>320.6996317</c:v>
                </c:pt>
                <c:pt idx="480">
                  <c:v>320.6996317</c:v>
                </c:pt>
                <c:pt idx="481">
                  <c:v>320.6996317</c:v>
                </c:pt>
                <c:pt idx="482">
                  <c:v>320.6996317</c:v>
                </c:pt>
                <c:pt idx="483">
                  <c:v>320.6996317</c:v>
                </c:pt>
                <c:pt idx="484">
                  <c:v>320.6996317</c:v>
                </c:pt>
                <c:pt idx="485">
                  <c:v>320.6996317</c:v>
                </c:pt>
                <c:pt idx="486">
                  <c:v>320.6996317</c:v>
                </c:pt>
                <c:pt idx="487">
                  <c:v>320.6996317</c:v>
                </c:pt>
                <c:pt idx="488">
                  <c:v>320.6996317</c:v>
                </c:pt>
                <c:pt idx="489">
                  <c:v>320.6996317</c:v>
                </c:pt>
                <c:pt idx="490">
                  <c:v>320.6996317</c:v>
                </c:pt>
                <c:pt idx="491">
                  <c:v>320.6996317</c:v>
                </c:pt>
                <c:pt idx="492">
                  <c:v>320.6996317</c:v>
                </c:pt>
                <c:pt idx="493">
                  <c:v>320.6996317</c:v>
                </c:pt>
                <c:pt idx="494">
                  <c:v>320.6996317</c:v>
                </c:pt>
                <c:pt idx="495">
                  <c:v>320.6996317</c:v>
                </c:pt>
                <c:pt idx="496">
                  <c:v>320.6996317</c:v>
                </c:pt>
                <c:pt idx="497">
                  <c:v>319.79448032857141</c:v>
                </c:pt>
                <c:pt idx="498">
                  <c:v>317.25129931428575</c:v>
                </c:pt>
                <c:pt idx="499">
                  <c:v>312.48489252857144</c:v>
                </c:pt>
                <c:pt idx="500">
                  <c:v>305.03627525714285</c:v>
                </c:pt>
                <c:pt idx="501">
                  <c:v>294.55395245714283</c:v>
                </c:pt>
                <c:pt idx="502">
                  <c:v>280.77761734285713</c:v>
                </c:pt>
                <c:pt idx="503">
                  <c:v>263.52397901428571</c:v>
                </c:pt>
                <c:pt idx="504">
                  <c:v>243.57961314285714</c:v>
                </c:pt>
                <c:pt idx="505">
                  <c:v>221.61288039999999</c:v>
                </c:pt>
                <c:pt idx="506">
                  <c:v>198.18930259999999</c:v>
                </c:pt>
                <c:pt idx="507">
                  <c:v>173.78508292857146</c:v>
                </c:pt>
                <c:pt idx="508">
                  <c:v>148.7989842142857</c:v>
                </c:pt>
                <c:pt idx="509">
                  <c:v>123.56275524285715</c:v>
                </c:pt>
                <c:pt idx="510">
                  <c:v>98.350274142857145</c:v>
                </c:pt>
                <c:pt idx="511">
                  <c:v>73.385558285714282</c:v>
                </c:pt>
                <c:pt idx="512">
                  <c:v>52.081238942857148</c:v>
                </c:pt>
                <c:pt idx="513">
                  <c:v>34.45699042857143</c:v>
                </c:pt>
                <c:pt idx="514">
                  <c:v>20.495594271428569</c:v>
                </c:pt>
                <c:pt idx="515">
                  <c:v>10.149782685714285</c:v>
                </c:pt>
                <c:pt idx="516">
                  <c:v>3.3481136714285715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0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0</c:v>
                </c:pt>
                <c:pt idx="601">
                  <c:v>0</c:v>
                </c:pt>
                <c:pt idx="602">
                  <c:v>0</c:v>
                </c:pt>
                <c:pt idx="603">
                  <c:v>0</c:v>
                </c:pt>
                <c:pt idx="604">
                  <c:v>0</c:v>
                </c:pt>
                <c:pt idx="605">
                  <c:v>0</c:v>
                </c:pt>
                <c:pt idx="606">
                  <c:v>0</c:v>
                </c:pt>
                <c:pt idx="607">
                  <c:v>0</c:v>
                </c:pt>
                <c:pt idx="608">
                  <c:v>0</c:v>
                </c:pt>
                <c:pt idx="609">
                  <c:v>0</c:v>
                </c:pt>
                <c:pt idx="610">
                  <c:v>0</c:v>
                </c:pt>
                <c:pt idx="611">
                  <c:v>0</c:v>
                </c:pt>
                <c:pt idx="612">
                  <c:v>0</c:v>
                </c:pt>
                <c:pt idx="613">
                  <c:v>0</c:v>
                </c:pt>
                <c:pt idx="614">
                  <c:v>0</c:v>
                </c:pt>
                <c:pt idx="615">
                  <c:v>0</c:v>
                </c:pt>
                <c:pt idx="616">
                  <c:v>0</c:v>
                </c:pt>
                <c:pt idx="617">
                  <c:v>0</c:v>
                </c:pt>
                <c:pt idx="618">
                  <c:v>0</c:v>
                </c:pt>
                <c:pt idx="619">
                  <c:v>0</c:v>
                </c:pt>
                <c:pt idx="620">
                  <c:v>0</c:v>
                </c:pt>
                <c:pt idx="621">
                  <c:v>0</c:v>
                </c:pt>
                <c:pt idx="622">
                  <c:v>0</c:v>
                </c:pt>
                <c:pt idx="623">
                  <c:v>0</c:v>
                </c:pt>
                <c:pt idx="624">
                  <c:v>0</c:v>
                </c:pt>
                <c:pt idx="625">
                  <c:v>0</c:v>
                </c:pt>
                <c:pt idx="626">
                  <c:v>0</c:v>
                </c:pt>
                <c:pt idx="627">
                  <c:v>0</c:v>
                </c:pt>
                <c:pt idx="628">
                  <c:v>0</c:v>
                </c:pt>
                <c:pt idx="629">
                  <c:v>0</c:v>
                </c:pt>
                <c:pt idx="630">
                  <c:v>0</c:v>
                </c:pt>
                <c:pt idx="631">
                  <c:v>0</c:v>
                </c:pt>
                <c:pt idx="632">
                  <c:v>0</c:v>
                </c:pt>
                <c:pt idx="633">
                  <c:v>0</c:v>
                </c:pt>
                <c:pt idx="634">
                  <c:v>0</c:v>
                </c:pt>
                <c:pt idx="635">
                  <c:v>0</c:v>
                </c:pt>
                <c:pt idx="636">
                  <c:v>0</c:v>
                </c:pt>
                <c:pt idx="637">
                  <c:v>0</c:v>
                </c:pt>
                <c:pt idx="638">
                  <c:v>0</c:v>
                </c:pt>
                <c:pt idx="639">
                  <c:v>0</c:v>
                </c:pt>
                <c:pt idx="640">
                  <c:v>0</c:v>
                </c:pt>
                <c:pt idx="641">
                  <c:v>0</c:v>
                </c:pt>
                <c:pt idx="642">
                  <c:v>0</c:v>
                </c:pt>
                <c:pt idx="643">
                  <c:v>0</c:v>
                </c:pt>
                <c:pt idx="644">
                  <c:v>0</c:v>
                </c:pt>
                <c:pt idx="645">
                  <c:v>0</c:v>
                </c:pt>
                <c:pt idx="646">
                  <c:v>0</c:v>
                </c:pt>
                <c:pt idx="647">
                  <c:v>0</c:v>
                </c:pt>
                <c:pt idx="648">
                  <c:v>0</c:v>
                </c:pt>
                <c:pt idx="649">
                  <c:v>0</c:v>
                </c:pt>
                <c:pt idx="650">
                  <c:v>0</c:v>
                </c:pt>
                <c:pt idx="651">
                  <c:v>0</c:v>
                </c:pt>
                <c:pt idx="652">
                  <c:v>0</c:v>
                </c:pt>
                <c:pt idx="653">
                  <c:v>0</c:v>
                </c:pt>
                <c:pt idx="654">
                  <c:v>0</c:v>
                </c:pt>
                <c:pt idx="655">
                  <c:v>0</c:v>
                </c:pt>
                <c:pt idx="656">
                  <c:v>0</c:v>
                </c:pt>
                <c:pt idx="657">
                  <c:v>0</c:v>
                </c:pt>
                <c:pt idx="658">
                  <c:v>0</c:v>
                </c:pt>
                <c:pt idx="659">
                  <c:v>0</c:v>
                </c:pt>
                <c:pt idx="660">
                  <c:v>0</c:v>
                </c:pt>
                <c:pt idx="661">
                  <c:v>0</c:v>
                </c:pt>
                <c:pt idx="662">
                  <c:v>0</c:v>
                </c:pt>
                <c:pt idx="663">
                  <c:v>0</c:v>
                </c:pt>
                <c:pt idx="664">
                  <c:v>0</c:v>
                </c:pt>
                <c:pt idx="665">
                  <c:v>0</c:v>
                </c:pt>
                <c:pt idx="666">
                  <c:v>0</c:v>
                </c:pt>
                <c:pt idx="667">
                  <c:v>0</c:v>
                </c:pt>
                <c:pt idx="668">
                  <c:v>0</c:v>
                </c:pt>
                <c:pt idx="669">
                  <c:v>0</c:v>
                </c:pt>
                <c:pt idx="670">
                  <c:v>0</c:v>
                </c:pt>
                <c:pt idx="671">
                  <c:v>0</c:v>
                </c:pt>
                <c:pt idx="672">
                  <c:v>0</c:v>
                </c:pt>
                <c:pt idx="673">
                  <c:v>0</c:v>
                </c:pt>
                <c:pt idx="674">
                  <c:v>0</c:v>
                </c:pt>
                <c:pt idx="675">
                  <c:v>0</c:v>
                </c:pt>
                <c:pt idx="676">
                  <c:v>0</c:v>
                </c:pt>
                <c:pt idx="677">
                  <c:v>0</c:v>
                </c:pt>
                <c:pt idx="678">
                  <c:v>0</c:v>
                </c:pt>
                <c:pt idx="679">
                  <c:v>0</c:v>
                </c:pt>
                <c:pt idx="680">
                  <c:v>0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1.0266096</c:v>
                </c:pt>
                <c:pt idx="693">
                  <c:v>4.0345136714285719</c:v>
                </c:pt>
                <c:pt idx="694">
                  <c:v>9.7767790285714291</c:v>
                </c:pt>
                <c:pt idx="695">
                  <c:v>18.890810957142858</c:v>
                </c:pt>
                <c:pt idx="696">
                  <c:v>31.955661628571427</c:v>
                </c:pt>
                <c:pt idx="697">
                  <c:v>48.552120785714287</c:v>
                </c:pt>
                <c:pt idx="698">
                  <c:v>68.300853742857143</c:v>
                </c:pt>
                <c:pt idx="699">
                  <c:v>89.849764857142858</c:v>
                </c:pt>
                <c:pt idx="700">
                  <c:v>112.70130538571428</c:v>
                </c:pt>
                <c:pt idx="701">
                  <c:v>136.43187574285716</c:v>
                </c:pt>
                <c:pt idx="702">
                  <c:v>160.65050187142856</c:v>
                </c:pt>
                <c:pt idx="703">
                  <c:v>184.88441032857142</c:v>
                </c:pt>
                <c:pt idx="704">
                  <c:v>209.7408077</c:v>
                </c:pt>
                <c:pt idx="705">
                  <c:v>235.7313872</c:v>
                </c:pt>
                <c:pt idx="706">
                  <c:v>267.2286192571429</c:v>
                </c:pt>
                <c:pt idx="707">
                  <c:v>301.81400472857143</c:v>
                </c:pt>
                <c:pt idx="708">
                  <c:v>340.17899569999997</c:v>
                </c:pt>
                <c:pt idx="709">
                  <c:v>382.79352827142856</c:v>
                </c:pt>
                <c:pt idx="710">
                  <c:v>430.19470770000004</c:v>
                </c:pt>
                <c:pt idx="711">
                  <c:v>482.89403862857142</c:v>
                </c:pt>
                <c:pt idx="712">
                  <c:v>544.5772672999999</c:v>
                </c:pt>
                <c:pt idx="713">
                  <c:v>612.54097645714296</c:v>
                </c:pt>
                <c:pt idx="714">
                  <c:v>686.79049212857149</c:v>
                </c:pt>
                <c:pt idx="715">
                  <c:v>761.90255582857128</c:v>
                </c:pt>
                <c:pt idx="716">
                  <c:v>837.37330417142857</c:v>
                </c:pt>
                <c:pt idx="717">
                  <c:v>912.1867573285715</c:v>
                </c:pt>
                <c:pt idx="718">
                  <c:v>985.9025666428571</c:v>
                </c:pt>
                <c:pt idx="719">
                  <c:v>1054.1057478</c:v>
                </c:pt>
                <c:pt idx="720">
                  <c:v>1114.7790848</c:v>
                </c:pt>
                <c:pt idx="721">
                  <c:v>1154.2483550714285</c:v>
                </c:pt>
                <c:pt idx="722">
                  <c:v>1183.2181431142858</c:v>
                </c:pt>
                <c:pt idx="723">
                  <c:v>1201.9510617285712</c:v>
                </c:pt>
                <c:pt idx="724">
                  <c:v>1212.9299148999999</c:v>
                </c:pt>
                <c:pt idx="725">
                  <c:v>1216.1445278714286</c:v>
                </c:pt>
                <c:pt idx="726">
                  <c:v>1211.8345063428571</c:v>
                </c:pt>
                <c:pt idx="727">
                  <c:v>1200.6941631857142</c:v>
                </c:pt>
                <c:pt idx="728">
                  <c:v>1195.0275719428573</c:v>
                </c:pt>
                <c:pt idx="729">
                  <c:v>1198.8525116428571</c:v>
                </c:pt>
                <c:pt idx="730">
                  <c:v>1211.7691995714285</c:v>
                </c:pt>
                <c:pt idx="731">
                  <c:v>1225.9405874000001</c:v>
                </c:pt>
                <c:pt idx="732">
                  <c:v>1243.0662949857144</c:v>
                </c:pt>
                <c:pt idx="733">
                  <c:v>1262.4037000428573</c:v>
                </c:pt>
                <c:pt idx="734">
                  <c:v>1280.0432324857143</c:v>
                </c:pt>
                <c:pt idx="735">
                  <c:v>1297.6391222285715</c:v>
                </c:pt>
                <c:pt idx="736">
                  <c:v>1305.1846170571428</c:v>
                </c:pt>
                <c:pt idx="737">
                  <c:v>1294.9187232571426</c:v>
                </c:pt>
                <c:pt idx="738">
                  <c:v>1270.9092756142857</c:v>
                </c:pt>
                <c:pt idx="739">
                  <c:v>1229.9625089999997</c:v>
                </c:pt>
                <c:pt idx="740">
                  <c:v>1168.3764413428571</c:v>
                </c:pt>
                <c:pt idx="741">
                  <c:v>1089.6385470714285</c:v>
                </c:pt>
                <c:pt idx="742">
                  <c:v>998.65301699999998</c:v>
                </c:pt>
                <c:pt idx="743">
                  <c:v>895.21662270000002</c:v>
                </c:pt>
                <c:pt idx="744">
                  <c:v>787.00042158571432</c:v>
                </c:pt>
                <c:pt idx="745">
                  <c:v>675.20477697142849</c:v>
                </c:pt>
                <c:pt idx="746">
                  <c:v>561.22647099999995</c:v>
                </c:pt>
                <c:pt idx="747">
                  <c:v>448.44284361428572</c:v>
                </c:pt>
                <c:pt idx="748">
                  <c:v>338.05068322857147</c:v>
                </c:pt>
                <c:pt idx="749">
                  <c:v>243.0018926285714</c:v>
                </c:pt>
                <c:pt idx="750">
                  <c:v>163.18772235714286</c:v>
                </c:pt>
                <c:pt idx="751">
                  <c:v>98.620520257142843</c:v>
                </c:pt>
                <c:pt idx="752">
                  <c:v>49.761979800000006</c:v>
                </c:pt>
                <c:pt idx="753">
                  <c:v>16.47873505714286</c:v>
                </c:pt>
                <c:pt idx="754">
                  <c:v>0.1953242857142857</c:v>
                </c:pt>
                <c:pt idx="755">
                  <c:v>0.11639072857142856</c:v>
                </c:pt>
                <c:pt idx="756">
                  <c:v>5.7796885714285713E-2</c:v>
                </c:pt>
                <c:pt idx="757">
                  <c:v>1.8248500000000001E-2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</c:v>
                </c:pt>
                <c:pt idx="782">
                  <c:v>0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  <c:pt idx="787">
                  <c:v>0</c:v>
                </c:pt>
                <c:pt idx="788">
                  <c:v>0</c:v>
                </c:pt>
                <c:pt idx="789">
                  <c:v>0</c:v>
                </c:pt>
                <c:pt idx="790">
                  <c:v>0</c:v>
                </c:pt>
                <c:pt idx="791">
                  <c:v>0</c:v>
                </c:pt>
                <c:pt idx="792">
                  <c:v>0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0</c:v>
                </c:pt>
                <c:pt idx="801">
                  <c:v>0</c:v>
                </c:pt>
                <c:pt idx="802">
                  <c:v>0</c:v>
                </c:pt>
                <c:pt idx="803">
                  <c:v>0</c:v>
                </c:pt>
                <c:pt idx="80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F80-4D44-B5FB-C7344E7BB008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Apple search</c:v>
                </c:pt>
              </c:strCache>
            </c:strRef>
          </c:tx>
          <c:spPr>
            <a:solidFill>
              <a:schemeClr val="tx1"/>
            </a:solidFill>
            <a:ln w="12700">
              <a:solidFill>
                <a:schemeClr val="tx1"/>
              </a:solidFill>
            </a:ln>
            <a:effectLst/>
          </c:spPr>
          <c:invertIfNegative val="0"/>
          <c:cat>
            <c:numRef>
              <c:f>Sheet1!$A$2:$A$806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I$2:$I$806</c:f>
              <c:numCache>
                <c:formatCode>#,##0</c:formatCode>
                <c:ptCount val="8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8.169807614285713</c:v>
                </c:pt>
                <c:pt idx="7">
                  <c:v>24.635125585714285</c:v>
                </c:pt>
                <c:pt idx="8">
                  <c:v>31.138883485714285</c:v>
                </c:pt>
                <c:pt idx="9">
                  <c:v>37.333256499999997</c:v>
                </c:pt>
                <c:pt idx="10">
                  <c:v>42.930097199999999</c:v>
                </c:pt>
                <c:pt idx="11">
                  <c:v>47.715491057142856</c:v>
                </c:pt>
                <c:pt idx="12">
                  <c:v>51.671884885714285</c:v>
                </c:pt>
                <c:pt idx="13">
                  <c:v>54.91762874285714</c:v>
                </c:pt>
                <c:pt idx="14">
                  <c:v>57.391071485714285</c:v>
                </c:pt>
                <c:pt idx="15">
                  <c:v>58.514000285714289</c:v>
                </c:pt>
                <c:pt idx="16">
                  <c:v>58.425390885714286</c:v>
                </c:pt>
                <c:pt idx="17">
                  <c:v>57.076144271428575</c:v>
                </c:pt>
                <c:pt idx="18">
                  <c:v>54.340860528571433</c:v>
                </c:pt>
                <c:pt idx="19">
                  <c:v>50.433813757142858</c:v>
                </c:pt>
                <c:pt idx="20">
                  <c:v>45.688182028571433</c:v>
                </c:pt>
                <c:pt idx="21">
                  <c:v>40.422071142857142</c:v>
                </c:pt>
                <c:pt idx="22">
                  <c:v>35.435459857142853</c:v>
                </c:pt>
                <c:pt idx="23">
                  <c:v>30.749935399999995</c:v>
                </c:pt>
                <c:pt idx="24">
                  <c:v>26.502375099999998</c:v>
                </c:pt>
                <c:pt idx="25">
                  <c:v>22.799096771428569</c:v>
                </c:pt>
                <c:pt idx="26">
                  <c:v>19.624513900000004</c:v>
                </c:pt>
                <c:pt idx="27">
                  <c:v>16.934071714285714</c:v>
                </c:pt>
                <c:pt idx="28">
                  <c:v>14.81355195714286</c:v>
                </c:pt>
                <c:pt idx="29">
                  <c:v>13.256208857142855</c:v>
                </c:pt>
                <c:pt idx="30">
                  <c:v>12.184611485714287</c:v>
                </c:pt>
                <c:pt idx="31">
                  <c:v>11.559566485714287</c:v>
                </c:pt>
                <c:pt idx="32">
                  <c:v>11.347255028571428</c:v>
                </c:pt>
                <c:pt idx="33">
                  <c:v>11.388249142857143</c:v>
                </c:pt>
                <c:pt idx="34">
                  <c:v>11.605995828571427</c:v>
                </c:pt>
                <c:pt idx="35">
                  <c:v>11.94782152857143</c:v>
                </c:pt>
                <c:pt idx="36">
                  <c:v>12.415573557142858</c:v>
                </c:pt>
                <c:pt idx="37">
                  <c:v>13.087825642857142</c:v>
                </c:pt>
                <c:pt idx="38">
                  <c:v>13.974108342857145</c:v>
                </c:pt>
                <c:pt idx="39">
                  <c:v>15.0349871</c:v>
                </c:pt>
                <c:pt idx="40">
                  <c:v>16.185844114285715</c:v>
                </c:pt>
                <c:pt idx="41">
                  <c:v>17.317750128571426</c:v>
                </c:pt>
                <c:pt idx="42">
                  <c:v>18.440903428571428</c:v>
                </c:pt>
                <c:pt idx="43">
                  <c:v>19.495332700000002</c:v>
                </c:pt>
                <c:pt idx="44">
                  <c:v>20.44127542857143</c:v>
                </c:pt>
                <c:pt idx="45">
                  <c:v>21.242069857142859</c:v>
                </c:pt>
                <c:pt idx="46">
                  <c:v>21.92573755714286</c:v>
                </c:pt>
                <c:pt idx="47">
                  <c:v>22.532105985714281</c:v>
                </c:pt>
                <c:pt idx="48">
                  <c:v>22.987022142857143</c:v>
                </c:pt>
                <c:pt idx="49">
                  <c:v>23.184584585714283</c:v>
                </c:pt>
                <c:pt idx="50">
                  <c:v>23.174460628571428</c:v>
                </c:pt>
                <c:pt idx="51">
                  <c:v>22.940825871428569</c:v>
                </c:pt>
                <c:pt idx="52">
                  <c:v>22.58359901428571</c:v>
                </c:pt>
                <c:pt idx="53">
                  <c:v>22.137979999999999</c:v>
                </c:pt>
                <c:pt idx="54">
                  <c:v>21.637165628571431</c:v>
                </c:pt>
                <c:pt idx="55">
                  <c:v>21.168258628571433</c:v>
                </c:pt>
                <c:pt idx="56">
                  <c:v>20.738023685714285</c:v>
                </c:pt>
                <c:pt idx="57">
                  <c:v>20.351513042857142</c:v>
                </c:pt>
                <c:pt idx="58">
                  <c:v>20.034402285714286</c:v>
                </c:pt>
                <c:pt idx="59">
                  <c:v>19.740791699999999</c:v>
                </c:pt>
                <c:pt idx="60">
                  <c:v>19.472615299999998</c:v>
                </c:pt>
                <c:pt idx="61">
                  <c:v>19.217406814285713</c:v>
                </c:pt>
                <c:pt idx="62">
                  <c:v>18.95561384285714</c:v>
                </c:pt>
                <c:pt idx="63">
                  <c:v>18.745149414285716</c:v>
                </c:pt>
                <c:pt idx="64">
                  <c:v>18.572639914285713</c:v>
                </c:pt>
                <c:pt idx="65">
                  <c:v>18.44390867142857</c:v>
                </c:pt>
                <c:pt idx="66">
                  <c:v>18.335654314285712</c:v>
                </c:pt>
                <c:pt idx="67">
                  <c:v>18.249924728571425</c:v>
                </c:pt>
                <c:pt idx="68">
                  <c:v>18.203233471428568</c:v>
                </c:pt>
                <c:pt idx="69">
                  <c:v>18.194756285714284</c:v>
                </c:pt>
                <c:pt idx="70">
                  <c:v>18.215702285714286</c:v>
                </c:pt>
                <c:pt idx="71">
                  <c:v>18.255201542857144</c:v>
                </c:pt>
                <c:pt idx="72">
                  <c:v>18.302497299999999</c:v>
                </c:pt>
                <c:pt idx="73">
                  <c:v>18.399822528571427</c:v>
                </c:pt>
                <c:pt idx="74">
                  <c:v>18.534943214285711</c:v>
                </c:pt>
                <c:pt idx="75">
                  <c:v>18.719681371428571</c:v>
                </c:pt>
                <c:pt idx="76">
                  <c:v>18.911279500000003</c:v>
                </c:pt>
                <c:pt idx="77">
                  <c:v>19.020193528571429</c:v>
                </c:pt>
                <c:pt idx="78">
                  <c:v>19.087107542857144</c:v>
                </c:pt>
                <c:pt idx="79">
                  <c:v>19.127825000000001</c:v>
                </c:pt>
                <c:pt idx="80">
                  <c:v>19.250557457142857</c:v>
                </c:pt>
                <c:pt idx="81">
                  <c:v>19.484432842857142</c:v>
                </c:pt>
                <c:pt idx="82">
                  <c:v>19.842744942857145</c:v>
                </c:pt>
                <c:pt idx="83">
                  <c:v>20.406533728571429</c:v>
                </c:pt>
                <c:pt idx="84">
                  <c:v>21.233160657142857</c:v>
                </c:pt>
                <c:pt idx="85">
                  <c:v>22.278136171428571</c:v>
                </c:pt>
                <c:pt idx="86">
                  <c:v>23.540268642857146</c:v>
                </c:pt>
                <c:pt idx="87">
                  <c:v>24.846403528571425</c:v>
                </c:pt>
                <c:pt idx="88">
                  <c:v>26.228119800000002</c:v>
                </c:pt>
                <c:pt idx="89">
                  <c:v>27.56674332857143</c:v>
                </c:pt>
                <c:pt idx="90">
                  <c:v>28.885766614285718</c:v>
                </c:pt>
                <c:pt idx="91">
                  <c:v>30.174439014285717</c:v>
                </c:pt>
                <c:pt idx="92">
                  <c:v>31.341609200000001</c:v>
                </c:pt>
                <c:pt idx="93">
                  <c:v>32.375976114285713</c:v>
                </c:pt>
                <c:pt idx="94">
                  <c:v>33.240745128571426</c:v>
                </c:pt>
                <c:pt idx="95">
                  <c:v>33.880755614285718</c:v>
                </c:pt>
                <c:pt idx="96">
                  <c:v>34.349599457142858</c:v>
                </c:pt>
                <c:pt idx="97">
                  <c:v>34.501901485714292</c:v>
                </c:pt>
                <c:pt idx="98">
                  <c:v>34.39581771428572</c:v>
                </c:pt>
                <c:pt idx="99">
                  <c:v>34.16078648571429</c:v>
                </c:pt>
                <c:pt idx="100">
                  <c:v>33.791612942857142</c:v>
                </c:pt>
                <c:pt idx="101">
                  <c:v>33.416948014285715</c:v>
                </c:pt>
                <c:pt idx="102">
                  <c:v>32.977475471428569</c:v>
                </c:pt>
                <c:pt idx="103">
                  <c:v>32.557110785714286</c:v>
                </c:pt>
                <c:pt idx="104">
                  <c:v>32.231786899999996</c:v>
                </c:pt>
                <c:pt idx="105">
                  <c:v>31.971822771428574</c:v>
                </c:pt>
                <c:pt idx="106">
                  <c:v>31.78091182857143</c:v>
                </c:pt>
                <c:pt idx="107">
                  <c:v>31.637364942857143</c:v>
                </c:pt>
                <c:pt idx="108">
                  <c:v>31.545008028571427</c:v>
                </c:pt>
                <c:pt idx="109">
                  <c:v>31.59467624285714</c:v>
                </c:pt>
                <c:pt idx="110">
                  <c:v>31.698247057142858</c:v>
                </c:pt>
                <c:pt idx="111">
                  <c:v>31.862837971428569</c:v>
                </c:pt>
                <c:pt idx="112">
                  <c:v>32.027733528571432</c:v>
                </c:pt>
                <c:pt idx="113">
                  <c:v>32.13935277142857</c:v>
                </c:pt>
                <c:pt idx="114">
                  <c:v>32.233916342857142</c:v>
                </c:pt>
                <c:pt idx="115">
                  <c:v>32.235193571428574</c:v>
                </c:pt>
                <c:pt idx="116">
                  <c:v>32.10901425714286</c:v>
                </c:pt>
                <c:pt idx="117">
                  <c:v>31.895467114285719</c:v>
                </c:pt>
                <c:pt idx="118">
                  <c:v>31.550033928571434</c:v>
                </c:pt>
                <c:pt idx="119">
                  <c:v>31.141260371428569</c:v>
                </c:pt>
                <c:pt idx="120">
                  <c:v>30.703262328571434</c:v>
                </c:pt>
                <c:pt idx="121">
                  <c:v>30.216826200000003</c:v>
                </c:pt>
                <c:pt idx="122">
                  <c:v>29.607081242857141</c:v>
                </c:pt>
                <c:pt idx="123">
                  <c:v>28.911730599999999</c:v>
                </c:pt>
                <c:pt idx="124">
                  <c:v>28.155056000000002</c:v>
                </c:pt>
                <c:pt idx="125">
                  <c:v>27.337983357142857</c:v>
                </c:pt>
                <c:pt idx="126">
                  <c:v>26.453141671428572</c:v>
                </c:pt>
                <c:pt idx="127">
                  <c:v>25.481711214285713</c:v>
                </c:pt>
                <c:pt idx="128">
                  <c:v>24.461212128571425</c:v>
                </c:pt>
                <c:pt idx="129">
                  <c:v>23.500354442857141</c:v>
                </c:pt>
                <c:pt idx="130">
                  <c:v>22.59225677142857</c:v>
                </c:pt>
                <c:pt idx="131">
                  <c:v>21.733415928571429</c:v>
                </c:pt>
                <c:pt idx="132">
                  <c:v>20.947788828571426</c:v>
                </c:pt>
                <c:pt idx="133">
                  <c:v>20.25634997142857</c:v>
                </c:pt>
                <c:pt idx="134">
                  <c:v>19.6747257</c:v>
                </c:pt>
                <c:pt idx="135">
                  <c:v>19.206698157142856</c:v>
                </c:pt>
                <c:pt idx="136">
                  <c:v>18.875597714285714</c:v>
                </c:pt>
                <c:pt idx="137">
                  <c:v>18.657182500000001</c:v>
                </c:pt>
                <c:pt idx="138">
                  <c:v>18.524481414285713</c:v>
                </c:pt>
                <c:pt idx="139">
                  <c:v>18.50037962857143</c:v>
                </c:pt>
                <c:pt idx="140">
                  <c:v>18.535826357142859</c:v>
                </c:pt>
                <c:pt idx="141">
                  <c:v>18.634884685714287</c:v>
                </c:pt>
                <c:pt idx="142">
                  <c:v>18.741898385714283</c:v>
                </c:pt>
                <c:pt idx="143">
                  <c:v>18.814387585714282</c:v>
                </c:pt>
                <c:pt idx="144">
                  <c:v>18.85373107142857</c:v>
                </c:pt>
                <c:pt idx="145">
                  <c:v>18.843439185714285</c:v>
                </c:pt>
                <c:pt idx="146">
                  <c:v>18.793515871428571</c:v>
                </c:pt>
                <c:pt idx="147">
                  <c:v>18.711610914285718</c:v>
                </c:pt>
                <c:pt idx="148">
                  <c:v>18.584308885714286</c:v>
                </c:pt>
                <c:pt idx="149">
                  <c:v>18.470686514285717</c:v>
                </c:pt>
                <c:pt idx="150">
                  <c:v>18.385027242857145</c:v>
                </c:pt>
                <c:pt idx="151">
                  <c:v>18.378313914285716</c:v>
                </c:pt>
                <c:pt idx="152">
                  <c:v>18.476666328571429</c:v>
                </c:pt>
                <c:pt idx="153">
                  <c:v>18.690752357142856</c:v>
                </c:pt>
                <c:pt idx="154">
                  <c:v>19.008620828571431</c:v>
                </c:pt>
                <c:pt idx="155">
                  <c:v>19.38583348571429</c:v>
                </c:pt>
                <c:pt idx="156">
                  <c:v>19.799441757142858</c:v>
                </c:pt>
                <c:pt idx="157">
                  <c:v>20.233371342857144</c:v>
                </c:pt>
                <c:pt idx="158">
                  <c:v>20.630602800000002</c:v>
                </c:pt>
                <c:pt idx="159">
                  <c:v>20.968708628571427</c:v>
                </c:pt>
                <c:pt idx="160">
                  <c:v>21.197651028571432</c:v>
                </c:pt>
                <c:pt idx="161">
                  <c:v>21.341117385714284</c:v>
                </c:pt>
                <c:pt idx="162">
                  <c:v>21.448403242857143</c:v>
                </c:pt>
                <c:pt idx="163">
                  <c:v>21.489516928571426</c:v>
                </c:pt>
                <c:pt idx="164">
                  <c:v>21.4854406</c:v>
                </c:pt>
                <c:pt idx="165">
                  <c:v>21.401447271428573</c:v>
                </c:pt>
                <c:pt idx="166">
                  <c:v>21.276202799999997</c:v>
                </c:pt>
                <c:pt idx="167">
                  <c:v>21.219205042857144</c:v>
                </c:pt>
                <c:pt idx="168">
                  <c:v>21.298906171428573</c:v>
                </c:pt>
                <c:pt idx="169">
                  <c:v>21.418020800000001</c:v>
                </c:pt>
                <c:pt idx="170">
                  <c:v>21.5203688</c:v>
                </c:pt>
                <c:pt idx="171">
                  <c:v>21.556892542857145</c:v>
                </c:pt>
                <c:pt idx="172">
                  <c:v>21.55874052857143</c:v>
                </c:pt>
                <c:pt idx="173">
                  <c:v>21.507683471428575</c:v>
                </c:pt>
                <c:pt idx="174">
                  <c:v>21.309278057142858</c:v>
                </c:pt>
                <c:pt idx="175">
                  <c:v>20.912002128571434</c:v>
                </c:pt>
                <c:pt idx="176">
                  <c:v>20.373767314285715</c:v>
                </c:pt>
                <c:pt idx="177">
                  <c:v>19.761145085714286</c:v>
                </c:pt>
                <c:pt idx="178">
                  <c:v>19.129269799999999</c:v>
                </c:pt>
                <c:pt idx="179">
                  <c:v>18.500875628571428</c:v>
                </c:pt>
                <c:pt idx="180">
                  <c:v>17.890079185714285</c:v>
                </c:pt>
                <c:pt idx="181">
                  <c:v>17.21084185714286</c:v>
                </c:pt>
                <c:pt idx="182">
                  <c:v>16.475381414285714</c:v>
                </c:pt>
                <c:pt idx="183">
                  <c:v>15.856372471428571</c:v>
                </c:pt>
                <c:pt idx="184">
                  <c:v>15.394020914285717</c:v>
                </c:pt>
                <c:pt idx="185">
                  <c:v>15.075967542857143</c:v>
                </c:pt>
                <c:pt idx="186">
                  <c:v>14.910762914285714</c:v>
                </c:pt>
                <c:pt idx="187">
                  <c:v>14.8773678</c:v>
                </c:pt>
                <c:pt idx="188">
                  <c:v>15.067942228571427</c:v>
                </c:pt>
                <c:pt idx="189">
                  <c:v>15.442025599999999</c:v>
                </c:pt>
                <c:pt idx="190">
                  <c:v>15.880760885714283</c:v>
                </c:pt>
                <c:pt idx="191">
                  <c:v>16.315767028571429</c:v>
                </c:pt>
                <c:pt idx="192">
                  <c:v>16.715642499999998</c:v>
                </c:pt>
                <c:pt idx="193">
                  <c:v>17.072974514285711</c:v>
                </c:pt>
                <c:pt idx="194">
                  <c:v>17.414256099999999</c:v>
                </c:pt>
                <c:pt idx="195">
                  <c:v>17.725484528571428</c:v>
                </c:pt>
                <c:pt idx="196">
                  <c:v>18.070215557142856</c:v>
                </c:pt>
                <c:pt idx="197">
                  <c:v>18.318787485714285</c:v>
                </c:pt>
                <c:pt idx="198">
                  <c:v>18.601130057142857</c:v>
                </c:pt>
                <c:pt idx="199">
                  <c:v>19.001768657142858</c:v>
                </c:pt>
                <c:pt idx="200">
                  <c:v>19.432442000000002</c:v>
                </c:pt>
                <c:pt idx="201">
                  <c:v>19.875635600000003</c:v>
                </c:pt>
                <c:pt idx="202">
                  <c:v>20.260949971428573</c:v>
                </c:pt>
                <c:pt idx="203">
                  <c:v>20.392844985714284</c:v>
                </c:pt>
                <c:pt idx="204">
                  <c:v>20.303434671428572</c:v>
                </c:pt>
                <c:pt idx="205">
                  <c:v>19.884415757142857</c:v>
                </c:pt>
                <c:pt idx="206">
                  <c:v>19.182482928571428</c:v>
                </c:pt>
                <c:pt idx="207">
                  <c:v>18.331584071428573</c:v>
                </c:pt>
                <c:pt idx="208">
                  <c:v>17.369798414285714</c:v>
                </c:pt>
                <c:pt idx="209">
                  <c:v>16.42625</c:v>
                </c:pt>
                <c:pt idx="210">
                  <c:v>15.631260714285716</c:v>
                </c:pt>
                <c:pt idx="211">
                  <c:v>15.096905285714286</c:v>
                </c:pt>
                <c:pt idx="212">
                  <c:v>14.733186514285714</c:v>
                </c:pt>
                <c:pt idx="213">
                  <c:v>14.504447942857142</c:v>
                </c:pt>
                <c:pt idx="214">
                  <c:v>14.431278928571428</c:v>
                </c:pt>
                <c:pt idx="215">
                  <c:v>14.455048999999999</c:v>
                </c:pt>
                <c:pt idx="216">
                  <c:v>14.569778828571428</c:v>
                </c:pt>
                <c:pt idx="217">
                  <c:v>14.82009444285714</c:v>
                </c:pt>
                <c:pt idx="218">
                  <c:v>15.1517309</c:v>
                </c:pt>
                <c:pt idx="219">
                  <c:v>15.639246114285715</c:v>
                </c:pt>
                <c:pt idx="220">
                  <c:v>16.089540514285712</c:v>
                </c:pt>
                <c:pt idx="221">
                  <c:v>16.402876685714286</c:v>
                </c:pt>
                <c:pt idx="222">
                  <c:v>16.642942714285716</c:v>
                </c:pt>
                <c:pt idx="223">
                  <c:v>16.790261185714286</c:v>
                </c:pt>
                <c:pt idx="224">
                  <c:v>16.810396285714287</c:v>
                </c:pt>
                <c:pt idx="225">
                  <c:v>16.715487728571429</c:v>
                </c:pt>
                <c:pt idx="226">
                  <c:v>16.563268828571427</c:v>
                </c:pt>
                <c:pt idx="227">
                  <c:v>16.474695728571429</c:v>
                </c:pt>
                <c:pt idx="228">
                  <c:v>16.510302557142857</c:v>
                </c:pt>
                <c:pt idx="229">
                  <c:v>16.646358485714288</c:v>
                </c:pt>
                <c:pt idx="230">
                  <c:v>16.882173228571428</c:v>
                </c:pt>
                <c:pt idx="231">
                  <c:v>17.186433185714286</c:v>
                </c:pt>
                <c:pt idx="232">
                  <c:v>17.521206799999998</c:v>
                </c:pt>
                <c:pt idx="233">
                  <c:v>17.883275885714287</c:v>
                </c:pt>
                <c:pt idx="234">
                  <c:v>18.261185257142856</c:v>
                </c:pt>
                <c:pt idx="235">
                  <c:v>18.584270357142856</c:v>
                </c:pt>
                <c:pt idx="236">
                  <c:v>18.803959928571427</c:v>
                </c:pt>
                <c:pt idx="237">
                  <c:v>18.898889871428572</c:v>
                </c:pt>
                <c:pt idx="238">
                  <c:v>18.923156242857143</c:v>
                </c:pt>
                <c:pt idx="239">
                  <c:v>18.916243028571426</c:v>
                </c:pt>
                <c:pt idx="240">
                  <c:v>18.880977028571433</c:v>
                </c:pt>
                <c:pt idx="241">
                  <c:v>18.791747228571431</c:v>
                </c:pt>
                <c:pt idx="242">
                  <c:v>18.686189500000005</c:v>
                </c:pt>
                <c:pt idx="243">
                  <c:v>18.644697500000003</c:v>
                </c:pt>
                <c:pt idx="244">
                  <c:v>18.690799885714284</c:v>
                </c:pt>
                <c:pt idx="245">
                  <c:v>18.746654328571427</c:v>
                </c:pt>
                <c:pt idx="246">
                  <c:v>18.786372500000002</c:v>
                </c:pt>
                <c:pt idx="247">
                  <c:v>18.733353914285715</c:v>
                </c:pt>
                <c:pt idx="248">
                  <c:v>18.597725185714285</c:v>
                </c:pt>
                <c:pt idx="249">
                  <c:v>18.339868342857137</c:v>
                </c:pt>
                <c:pt idx="250">
                  <c:v>17.935827985714287</c:v>
                </c:pt>
                <c:pt idx="251">
                  <c:v>17.308207242857144</c:v>
                </c:pt>
                <c:pt idx="252">
                  <c:v>16.474173714285715</c:v>
                </c:pt>
                <c:pt idx="253">
                  <c:v>15.4283435</c:v>
                </c:pt>
                <c:pt idx="254">
                  <c:v>14.438201728571427</c:v>
                </c:pt>
                <c:pt idx="255">
                  <c:v>13.622388414285712</c:v>
                </c:pt>
                <c:pt idx="256">
                  <c:v>13.035946585714285</c:v>
                </c:pt>
                <c:pt idx="257">
                  <c:v>12.635283114285714</c:v>
                </c:pt>
                <c:pt idx="258">
                  <c:v>12.487929828571428</c:v>
                </c:pt>
                <c:pt idx="259">
                  <c:v>12.703541085714287</c:v>
                </c:pt>
                <c:pt idx="260">
                  <c:v>13.306828014285715</c:v>
                </c:pt>
                <c:pt idx="261">
                  <c:v>14.063046071428571</c:v>
                </c:pt>
                <c:pt idx="262">
                  <c:v>14.91990207142857</c:v>
                </c:pt>
                <c:pt idx="263">
                  <c:v>15.872163085714286</c:v>
                </c:pt>
                <c:pt idx="264">
                  <c:v>16.851946300000002</c:v>
                </c:pt>
                <c:pt idx="265">
                  <c:v>17.864482842857143</c:v>
                </c:pt>
                <c:pt idx="266">
                  <c:v>18.788663100000001</c:v>
                </c:pt>
                <c:pt idx="267">
                  <c:v>19.596632514285712</c:v>
                </c:pt>
                <c:pt idx="268">
                  <c:v>20.070015371428571</c:v>
                </c:pt>
                <c:pt idx="269">
                  <c:v>20.270662185714286</c:v>
                </c:pt>
                <c:pt idx="270">
                  <c:v>20.232089071428568</c:v>
                </c:pt>
                <c:pt idx="271">
                  <c:v>20.054620999999997</c:v>
                </c:pt>
                <c:pt idx="272">
                  <c:v>19.715378671428571</c:v>
                </c:pt>
                <c:pt idx="273">
                  <c:v>19.252175028571429</c:v>
                </c:pt>
                <c:pt idx="274">
                  <c:v>18.7211882</c:v>
                </c:pt>
                <c:pt idx="275">
                  <c:v>18.321216471428574</c:v>
                </c:pt>
                <c:pt idx="276">
                  <c:v>17.908044285714286</c:v>
                </c:pt>
                <c:pt idx="277">
                  <c:v>17.408675985714286</c:v>
                </c:pt>
                <c:pt idx="278">
                  <c:v>16.856661614285716</c:v>
                </c:pt>
                <c:pt idx="279">
                  <c:v>16.261082042857144</c:v>
                </c:pt>
                <c:pt idx="280">
                  <c:v>15.629351771428572</c:v>
                </c:pt>
                <c:pt idx="281">
                  <c:v>14.938027242857144</c:v>
                </c:pt>
                <c:pt idx="282">
                  <c:v>14.249975014285713</c:v>
                </c:pt>
                <c:pt idx="283">
                  <c:v>13.628213985714286</c:v>
                </c:pt>
                <c:pt idx="284">
                  <c:v>13.0622895</c:v>
                </c:pt>
                <c:pt idx="285">
                  <c:v>12.644444857142858</c:v>
                </c:pt>
                <c:pt idx="286">
                  <c:v>12.39570987142857</c:v>
                </c:pt>
                <c:pt idx="287">
                  <c:v>12.294531928571429</c:v>
                </c:pt>
                <c:pt idx="288">
                  <c:v>12.352528085714285</c:v>
                </c:pt>
                <c:pt idx="289">
                  <c:v>12.513910371428571</c:v>
                </c:pt>
                <c:pt idx="290">
                  <c:v>12.725482171428572</c:v>
                </c:pt>
                <c:pt idx="291">
                  <c:v>13.003843042857142</c:v>
                </c:pt>
                <c:pt idx="292">
                  <c:v>13.182915714285715</c:v>
                </c:pt>
                <c:pt idx="293">
                  <c:v>13.267058814285715</c:v>
                </c:pt>
                <c:pt idx="294">
                  <c:v>13.213724000000001</c:v>
                </c:pt>
                <c:pt idx="295">
                  <c:v>12.958199371428568</c:v>
                </c:pt>
                <c:pt idx="296">
                  <c:v>12.47400647142857</c:v>
                </c:pt>
                <c:pt idx="297">
                  <c:v>11.799758842857145</c:v>
                </c:pt>
                <c:pt idx="298">
                  <c:v>10.960273942857144</c:v>
                </c:pt>
                <c:pt idx="299">
                  <c:v>9.948923542857143</c:v>
                </c:pt>
                <c:pt idx="300">
                  <c:v>8.7927853714285735</c:v>
                </c:pt>
                <c:pt idx="301">
                  <c:v>7.5484323142857139</c:v>
                </c:pt>
                <c:pt idx="302">
                  <c:v>6.2758153571428563</c:v>
                </c:pt>
                <c:pt idx="303">
                  <c:v>5.1036558142857151</c:v>
                </c:pt>
                <c:pt idx="304">
                  <c:v>4.0365530285714275</c:v>
                </c:pt>
                <c:pt idx="305">
                  <c:v>3.0661403285714282</c:v>
                </c:pt>
                <c:pt idx="306">
                  <c:v>2.2577079714285717</c:v>
                </c:pt>
                <c:pt idx="307">
                  <c:v>1.5782346142857144</c:v>
                </c:pt>
                <c:pt idx="308">
                  <c:v>1.0610335857142856</c:v>
                </c:pt>
                <c:pt idx="309">
                  <c:v>0.7056353428571428</c:v>
                </c:pt>
                <c:pt idx="310">
                  <c:v>0.43047275714285715</c:v>
                </c:pt>
                <c:pt idx="311">
                  <c:v>0.22837302857142858</c:v>
                </c:pt>
                <c:pt idx="312">
                  <c:v>9.8626857142857155E-2</c:v>
                </c:pt>
                <c:pt idx="313">
                  <c:v>1.9205757142857143E-2</c:v>
                </c:pt>
                <c:pt idx="314">
                  <c:v>1.4161428571428573E-4</c:v>
                </c:pt>
                <c:pt idx="315">
                  <c:v>6.6357142857142865E-5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7.9710199999999995E-2</c:v>
                </c:pt>
                <c:pt idx="414">
                  <c:v>0.39058567142857142</c:v>
                </c:pt>
                <c:pt idx="415">
                  <c:v>0.94250414285714279</c:v>
                </c:pt>
                <c:pt idx="416">
                  <c:v>1.9174552999999999</c:v>
                </c:pt>
                <c:pt idx="417">
                  <c:v>3.3831326857142856</c:v>
                </c:pt>
                <c:pt idx="418">
                  <c:v>5.2433833285714275</c:v>
                </c:pt>
                <c:pt idx="419">
                  <c:v>7.3948782714285715</c:v>
                </c:pt>
                <c:pt idx="420">
                  <c:v>9.73414997142857</c:v>
                </c:pt>
                <c:pt idx="421">
                  <c:v>12.116747228571427</c:v>
                </c:pt>
                <c:pt idx="422">
                  <c:v>14.543720585714285</c:v>
                </c:pt>
                <c:pt idx="423">
                  <c:v>16.822411757142856</c:v>
                </c:pt>
                <c:pt idx="424">
                  <c:v>18.849674499999999</c:v>
                </c:pt>
                <c:pt idx="425">
                  <c:v>20.698968857142855</c:v>
                </c:pt>
                <c:pt idx="426">
                  <c:v>22.47854574285714</c:v>
                </c:pt>
                <c:pt idx="427">
                  <c:v>24.111861899999997</c:v>
                </c:pt>
                <c:pt idx="428">
                  <c:v>25.41291331428571</c:v>
                </c:pt>
                <c:pt idx="429">
                  <c:v>26.393308414285716</c:v>
                </c:pt>
                <c:pt idx="430">
                  <c:v>26.86844074285715</c:v>
                </c:pt>
                <c:pt idx="431">
                  <c:v>26.917852985714287</c:v>
                </c:pt>
                <c:pt idx="432">
                  <c:v>26.676639142857145</c:v>
                </c:pt>
                <c:pt idx="433">
                  <c:v>26.148071557142856</c:v>
                </c:pt>
                <c:pt idx="434">
                  <c:v>25.378126885714284</c:v>
                </c:pt>
                <c:pt idx="435">
                  <c:v>24.520498628571431</c:v>
                </c:pt>
                <c:pt idx="436">
                  <c:v>23.596398114285712</c:v>
                </c:pt>
                <c:pt idx="437">
                  <c:v>22.846514085714286</c:v>
                </c:pt>
                <c:pt idx="438">
                  <c:v>22.280515057142857</c:v>
                </c:pt>
                <c:pt idx="439">
                  <c:v>21.757967585714287</c:v>
                </c:pt>
                <c:pt idx="440">
                  <c:v>21.256598742857143</c:v>
                </c:pt>
                <c:pt idx="441">
                  <c:v>20.870698414285716</c:v>
                </c:pt>
                <c:pt idx="442">
                  <c:v>20.6877213</c:v>
                </c:pt>
                <c:pt idx="443">
                  <c:v>20.636815357142858</c:v>
                </c:pt>
                <c:pt idx="444">
                  <c:v>20.659398614285717</c:v>
                </c:pt>
                <c:pt idx="445">
                  <c:v>20.692403642857148</c:v>
                </c:pt>
                <c:pt idx="446">
                  <c:v>20.730277585714287</c:v>
                </c:pt>
                <c:pt idx="447">
                  <c:v>20.76141967142857</c:v>
                </c:pt>
                <c:pt idx="448">
                  <c:v>20.750395157142858</c:v>
                </c:pt>
                <c:pt idx="449">
                  <c:v>20.690358971428573</c:v>
                </c:pt>
                <c:pt idx="450">
                  <c:v>20.611870028571428</c:v>
                </c:pt>
                <c:pt idx="451">
                  <c:v>20.595018771428574</c:v>
                </c:pt>
                <c:pt idx="452">
                  <c:v>20.696353642857144</c:v>
                </c:pt>
                <c:pt idx="453">
                  <c:v>20.932656885714287</c:v>
                </c:pt>
                <c:pt idx="454">
                  <c:v>21.329358242857143</c:v>
                </c:pt>
                <c:pt idx="455">
                  <c:v>21.8948432</c:v>
                </c:pt>
                <c:pt idx="456">
                  <c:v>22.593020357142855</c:v>
                </c:pt>
                <c:pt idx="457">
                  <c:v>23.422187528571431</c:v>
                </c:pt>
                <c:pt idx="458">
                  <c:v>24.273969357142857</c:v>
                </c:pt>
                <c:pt idx="459">
                  <c:v>25.070095200000001</c:v>
                </c:pt>
                <c:pt idx="460">
                  <c:v>25.815270071428575</c:v>
                </c:pt>
                <c:pt idx="461">
                  <c:v>26.51295225714286</c:v>
                </c:pt>
                <c:pt idx="462">
                  <c:v>27.111222757142858</c:v>
                </c:pt>
                <c:pt idx="463">
                  <c:v>27.575351085714285</c:v>
                </c:pt>
                <c:pt idx="464">
                  <c:v>27.882184571428574</c:v>
                </c:pt>
                <c:pt idx="465">
                  <c:v>28.057033028571428</c:v>
                </c:pt>
                <c:pt idx="466">
                  <c:v>28.180208728571433</c:v>
                </c:pt>
                <c:pt idx="467">
                  <c:v>28.327346485714283</c:v>
                </c:pt>
                <c:pt idx="468">
                  <c:v>28.453339642857145</c:v>
                </c:pt>
                <c:pt idx="469">
                  <c:v>28.604531142857144</c:v>
                </c:pt>
                <c:pt idx="470">
                  <c:v>28.82197622857143</c:v>
                </c:pt>
                <c:pt idx="471">
                  <c:v>29.163094871428573</c:v>
                </c:pt>
                <c:pt idx="472">
                  <c:v>29.627231042857147</c:v>
                </c:pt>
                <c:pt idx="473">
                  <c:v>30.208042042857148</c:v>
                </c:pt>
                <c:pt idx="474">
                  <c:v>30.807415728571435</c:v>
                </c:pt>
                <c:pt idx="475">
                  <c:v>31.442993514285714</c:v>
                </c:pt>
                <c:pt idx="476">
                  <c:v>32.10207185714286</c:v>
                </c:pt>
                <c:pt idx="477">
                  <c:v>32.731422500000001</c:v>
                </c:pt>
                <c:pt idx="478">
                  <c:v>33.362077342857141</c:v>
                </c:pt>
                <c:pt idx="479">
                  <c:v>34.056241814285713</c:v>
                </c:pt>
                <c:pt idx="480">
                  <c:v>34.728812399999995</c:v>
                </c:pt>
                <c:pt idx="481">
                  <c:v>35.397908971428571</c:v>
                </c:pt>
                <c:pt idx="482">
                  <c:v>35.939267642857139</c:v>
                </c:pt>
                <c:pt idx="483">
                  <c:v>36.345239628571427</c:v>
                </c:pt>
                <c:pt idx="484">
                  <c:v>36.625268485714287</c:v>
                </c:pt>
                <c:pt idx="485">
                  <c:v>36.744175128571428</c:v>
                </c:pt>
                <c:pt idx="486">
                  <c:v>36.810273400000007</c:v>
                </c:pt>
                <c:pt idx="487">
                  <c:v>36.892864814285716</c:v>
                </c:pt>
                <c:pt idx="488">
                  <c:v>36.968496800000004</c:v>
                </c:pt>
                <c:pt idx="489">
                  <c:v>37.061374871428576</c:v>
                </c:pt>
                <c:pt idx="490">
                  <c:v>37.152361914285713</c:v>
                </c:pt>
                <c:pt idx="491">
                  <c:v>37.26463271428571</c:v>
                </c:pt>
                <c:pt idx="492">
                  <c:v>37.334919942857141</c:v>
                </c:pt>
                <c:pt idx="493">
                  <c:v>37.263220342857139</c:v>
                </c:pt>
                <c:pt idx="494">
                  <c:v>36.999886057142859</c:v>
                </c:pt>
                <c:pt idx="495">
                  <c:v>36.604445685714282</c:v>
                </c:pt>
                <c:pt idx="496">
                  <c:v>36.222790657142859</c:v>
                </c:pt>
                <c:pt idx="497">
                  <c:v>35.820393442857139</c:v>
                </c:pt>
                <c:pt idx="498">
                  <c:v>35.386601842857139</c:v>
                </c:pt>
                <c:pt idx="499">
                  <c:v>34.929459999999999</c:v>
                </c:pt>
                <c:pt idx="500">
                  <c:v>34.35734804285714</c:v>
                </c:pt>
                <c:pt idx="501">
                  <c:v>33.727503414285714</c:v>
                </c:pt>
                <c:pt idx="502">
                  <c:v>33.107708814285715</c:v>
                </c:pt>
                <c:pt idx="503">
                  <c:v>32.465321428571428</c:v>
                </c:pt>
                <c:pt idx="504">
                  <c:v>31.901335999999997</c:v>
                </c:pt>
                <c:pt idx="505">
                  <c:v>31.35242815714285</c:v>
                </c:pt>
                <c:pt idx="506">
                  <c:v>30.861883828571429</c:v>
                </c:pt>
                <c:pt idx="507">
                  <c:v>30.389125342857145</c:v>
                </c:pt>
                <c:pt idx="508">
                  <c:v>29.986610871428574</c:v>
                </c:pt>
                <c:pt idx="509">
                  <c:v>29.537414057142858</c:v>
                </c:pt>
                <c:pt idx="510">
                  <c:v>29.001848828571433</c:v>
                </c:pt>
                <c:pt idx="511">
                  <c:v>28.340160071428574</c:v>
                </c:pt>
                <c:pt idx="512">
                  <c:v>27.631504814285716</c:v>
                </c:pt>
                <c:pt idx="513">
                  <c:v>26.867107200000003</c:v>
                </c:pt>
                <c:pt idx="514">
                  <c:v>26.110873842857149</c:v>
                </c:pt>
                <c:pt idx="515">
                  <c:v>25.376531242857144</c:v>
                </c:pt>
                <c:pt idx="516">
                  <c:v>24.75721652857143</c:v>
                </c:pt>
                <c:pt idx="517">
                  <c:v>24.298112071428569</c:v>
                </c:pt>
                <c:pt idx="518">
                  <c:v>23.976746242857139</c:v>
                </c:pt>
                <c:pt idx="519">
                  <c:v>23.821287557142853</c:v>
                </c:pt>
                <c:pt idx="520">
                  <c:v>23.780296671428573</c:v>
                </c:pt>
                <c:pt idx="521">
                  <c:v>23.870493657142855</c:v>
                </c:pt>
                <c:pt idx="522">
                  <c:v>23.991709000000004</c:v>
                </c:pt>
                <c:pt idx="523">
                  <c:v>24.086041499999997</c:v>
                </c:pt>
                <c:pt idx="524">
                  <c:v>24.165585700000001</c:v>
                </c:pt>
                <c:pt idx="525">
                  <c:v>24.22612935714286</c:v>
                </c:pt>
                <c:pt idx="526">
                  <c:v>24.213833628571429</c:v>
                </c:pt>
                <c:pt idx="527">
                  <c:v>24.167987028571428</c:v>
                </c:pt>
                <c:pt idx="528">
                  <c:v>24.123062328571429</c:v>
                </c:pt>
                <c:pt idx="529">
                  <c:v>24.02060672857143</c:v>
                </c:pt>
                <c:pt idx="530">
                  <c:v>23.832459585714282</c:v>
                </c:pt>
                <c:pt idx="531">
                  <c:v>23.536454499999998</c:v>
                </c:pt>
                <c:pt idx="532">
                  <c:v>23.162350171428574</c:v>
                </c:pt>
                <c:pt idx="533">
                  <c:v>22.741251471428569</c:v>
                </c:pt>
                <c:pt idx="534">
                  <c:v>22.321944885714284</c:v>
                </c:pt>
                <c:pt idx="535">
                  <c:v>21.902015757142856</c:v>
                </c:pt>
                <c:pt idx="536">
                  <c:v>21.623703699999997</c:v>
                </c:pt>
                <c:pt idx="537">
                  <c:v>21.533588142857145</c:v>
                </c:pt>
                <c:pt idx="538">
                  <c:v>21.600863500000003</c:v>
                </c:pt>
                <c:pt idx="539">
                  <c:v>21.812937300000005</c:v>
                </c:pt>
                <c:pt idx="540">
                  <c:v>22.15810637142857</c:v>
                </c:pt>
                <c:pt idx="541">
                  <c:v>22.561988142857139</c:v>
                </c:pt>
                <c:pt idx="542">
                  <c:v>22.979154328571429</c:v>
                </c:pt>
                <c:pt idx="543">
                  <c:v>23.455852914285714</c:v>
                </c:pt>
                <c:pt idx="544">
                  <c:v>23.99422877142857</c:v>
                </c:pt>
                <c:pt idx="545">
                  <c:v>24.609743971428568</c:v>
                </c:pt>
                <c:pt idx="546">
                  <c:v>25.336707757142857</c:v>
                </c:pt>
                <c:pt idx="547">
                  <c:v>26.152544728571431</c:v>
                </c:pt>
                <c:pt idx="548">
                  <c:v>27.045085357142856</c:v>
                </c:pt>
                <c:pt idx="549">
                  <c:v>28.063874814285715</c:v>
                </c:pt>
                <c:pt idx="550">
                  <c:v>29.14407197142857</c:v>
                </c:pt>
                <c:pt idx="551">
                  <c:v>30.274778642857143</c:v>
                </c:pt>
                <c:pt idx="552">
                  <c:v>31.468024428571425</c:v>
                </c:pt>
                <c:pt idx="553">
                  <c:v>32.705790471428571</c:v>
                </c:pt>
                <c:pt idx="554">
                  <c:v>33.95250931428572</c:v>
                </c:pt>
                <c:pt idx="555">
                  <c:v>35.230626300000004</c:v>
                </c:pt>
                <c:pt idx="556">
                  <c:v>36.493732100000003</c:v>
                </c:pt>
                <c:pt idx="557">
                  <c:v>37.662917400000005</c:v>
                </c:pt>
                <c:pt idx="558">
                  <c:v>38.71333145714285</c:v>
                </c:pt>
                <c:pt idx="559">
                  <c:v>39.608800757142866</c:v>
                </c:pt>
                <c:pt idx="560">
                  <c:v>40.24528217142857</c:v>
                </c:pt>
                <c:pt idx="561">
                  <c:v>40.720184300000007</c:v>
                </c:pt>
                <c:pt idx="562">
                  <c:v>41.095889485714288</c:v>
                </c:pt>
                <c:pt idx="563">
                  <c:v>41.375180957142852</c:v>
                </c:pt>
                <c:pt idx="564">
                  <c:v>41.470311642857148</c:v>
                </c:pt>
                <c:pt idx="565">
                  <c:v>41.412068628571426</c:v>
                </c:pt>
                <c:pt idx="566">
                  <c:v>41.214662814285717</c:v>
                </c:pt>
                <c:pt idx="567">
                  <c:v>40.953908314285705</c:v>
                </c:pt>
                <c:pt idx="568">
                  <c:v>40.615278271428565</c:v>
                </c:pt>
                <c:pt idx="569">
                  <c:v>40.208632357142861</c:v>
                </c:pt>
                <c:pt idx="570">
                  <c:v>39.7316723</c:v>
                </c:pt>
                <c:pt idx="571">
                  <c:v>39.189705428571429</c:v>
                </c:pt>
                <c:pt idx="572">
                  <c:v>38.613547585714286</c:v>
                </c:pt>
                <c:pt idx="573">
                  <c:v>38.017563528571429</c:v>
                </c:pt>
                <c:pt idx="574">
                  <c:v>37.411864814285714</c:v>
                </c:pt>
                <c:pt idx="575">
                  <c:v>36.70055954285715</c:v>
                </c:pt>
                <c:pt idx="576">
                  <c:v>35.786386842857141</c:v>
                </c:pt>
                <c:pt idx="577">
                  <c:v>34.661249542857142</c:v>
                </c:pt>
                <c:pt idx="578">
                  <c:v>33.511957142857142</c:v>
                </c:pt>
                <c:pt idx="579">
                  <c:v>32.312698028571425</c:v>
                </c:pt>
                <c:pt idx="580">
                  <c:v>31.099318428571426</c:v>
                </c:pt>
                <c:pt idx="581">
                  <c:v>29.858497828571426</c:v>
                </c:pt>
                <c:pt idx="582">
                  <c:v>28.658462342857142</c:v>
                </c:pt>
                <c:pt idx="583">
                  <c:v>27.513662042857142</c:v>
                </c:pt>
                <c:pt idx="584">
                  <c:v>26.476594599999999</c:v>
                </c:pt>
                <c:pt idx="585">
                  <c:v>25.527526899999998</c:v>
                </c:pt>
                <c:pt idx="586">
                  <c:v>24.652079957142856</c:v>
                </c:pt>
                <c:pt idx="587">
                  <c:v>23.805671400000001</c:v>
                </c:pt>
                <c:pt idx="588">
                  <c:v>23.035422942857142</c:v>
                </c:pt>
                <c:pt idx="589">
                  <c:v>22.332351871428575</c:v>
                </c:pt>
                <c:pt idx="590">
                  <c:v>21.714760800000001</c:v>
                </c:pt>
                <c:pt idx="591">
                  <c:v>21.156422428571428</c:v>
                </c:pt>
                <c:pt idx="592">
                  <c:v>20.596538828571429</c:v>
                </c:pt>
                <c:pt idx="593">
                  <c:v>20.052454771428568</c:v>
                </c:pt>
                <c:pt idx="594">
                  <c:v>19.548707728571429</c:v>
                </c:pt>
                <c:pt idx="595">
                  <c:v>19.065785271428574</c:v>
                </c:pt>
                <c:pt idx="596">
                  <c:v>18.612532671428571</c:v>
                </c:pt>
                <c:pt idx="597">
                  <c:v>18.201497614285714</c:v>
                </c:pt>
                <c:pt idx="598">
                  <c:v>17.841853685714288</c:v>
                </c:pt>
                <c:pt idx="599">
                  <c:v>17.567874057142856</c:v>
                </c:pt>
                <c:pt idx="600">
                  <c:v>17.359131971428575</c:v>
                </c:pt>
                <c:pt idx="601">
                  <c:v>17.234530757142856</c:v>
                </c:pt>
                <c:pt idx="602">
                  <c:v>17.185190085714286</c:v>
                </c:pt>
                <c:pt idx="603">
                  <c:v>17.206284542857144</c:v>
                </c:pt>
                <c:pt idx="604">
                  <c:v>17.298731214285716</c:v>
                </c:pt>
                <c:pt idx="605">
                  <c:v>17.479662457142858</c:v>
                </c:pt>
                <c:pt idx="606">
                  <c:v>17.763690842857141</c:v>
                </c:pt>
                <c:pt idx="607">
                  <c:v>18.148874857142854</c:v>
                </c:pt>
                <c:pt idx="608">
                  <c:v>18.660425514285716</c:v>
                </c:pt>
                <c:pt idx="609">
                  <c:v>19.293629314285713</c:v>
                </c:pt>
                <c:pt idx="610">
                  <c:v>20.048873399999998</c:v>
                </c:pt>
                <c:pt idx="611">
                  <c:v>20.908125614285716</c:v>
                </c:pt>
                <c:pt idx="612">
                  <c:v>21.830589571428572</c:v>
                </c:pt>
                <c:pt idx="613">
                  <c:v>22.759822500000002</c:v>
                </c:pt>
                <c:pt idx="614">
                  <c:v>23.690619985714285</c:v>
                </c:pt>
                <c:pt idx="615">
                  <c:v>24.582048700000001</c:v>
                </c:pt>
                <c:pt idx="616">
                  <c:v>25.428707785714288</c:v>
                </c:pt>
                <c:pt idx="617">
                  <c:v>26.23580328571429</c:v>
                </c:pt>
                <c:pt idx="618">
                  <c:v>26.981095628571431</c:v>
                </c:pt>
                <c:pt idx="619">
                  <c:v>27.633740314285717</c:v>
                </c:pt>
                <c:pt idx="620">
                  <c:v>28.190354842857143</c:v>
                </c:pt>
                <c:pt idx="621">
                  <c:v>28.669637299999998</c:v>
                </c:pt>
                <c:pt idx="622">
                  <c:v>29.026224528571426</c:v>
                </c:pt>
                <c:pt idx="623">
                  <c:v>29.295949657142852</c:v>
                </c:pt>
                <c:pt idx="624">
                  <c:v>29.454381685714285</c:v>
                </c:pt>
                <c:pt idx="625">
                  <c:v>29.529721857142857</c:v>
                </c:pt>
                <c:pt idx="626">
                  <c:v>29.571159742857141</c:v>
                </c:pt>
                <c:pt idx="627">
                  <c:v>29.620840171428572</c:v>
                </c:pt>
                <c:pt idx="628">
                  <c:v>29.651036714285713</c:v>
                </c:pt>
                <c:pt idx="629">
                  <c:v>29.678069028571429</c:v>
                </c:pt>
                <c:pt idx="630">
                  <c:v>29.678365085714283</c:v>
                </c:pt>
                <c:pt idx="631">
                  <c:v>29.662285942857146</c:v>
                </c:pt>
                <c:pt idx="632">
                  <c:v>29.643554071428575</c:v>
                </c:pt>
                <c:pt idx="633">
                  <c:v>29.624215228571433</c:v>
                </c:pt>
                <c:pt idx="634">
                  <c:v>29.576818199999998</c:v>
                </c:pt>
                <c:pt idx="635">
                  <c:v>29.529299042857144</c:v>
                </c:pt>
                <c:pt idx="636">
                  <c:v>29.506940699999998</c:v>
                </c:pt>
                <c:pt idx="637">
                  <c:v>29.508958328571428</c:v>
                </c:pt>
                <c:pt idx="638">
                  <c:v>29.567490271428571</c:v>
                </c:pt>
                <c:pt idx="639">
                  <c:v>29.668756642857144</c:v>
                </c:pt>
                <c:pt idx="640">
                  <c:v>29.790637657142859</c:v>
                </c:pt>
                <c:pt idx="641">
                  <c:v>29.932251685714284</c:v>
                </c:pt>
                <c:pt idx="642">
                  <c:v>30.12288371428571</c:v>
                </c:pt>
                <c:pt idx="643">
                  <c:v>30.339176642857144</c:v>
                </c:pt>
                <c:pt idx="644">
                  <c:v>30.537566614285716</c:v>
                </c:pt>
                <c:pt idx="645">
                  <c:v>30.660183171428574</c:v>
                </c:pt>
                <c:pt idx="646">
                  <c:v>30.686547928571429</c:v>
                </c:pt>
                <c:pt idx="647">
                  <c:v>30.595936671428571</c:v>
                </c:pt>
                <c:pt idx="648">
                  <c:v>30.435318471428577</c:v>
                </c:pt>
                <c:pt idx="649">
                  <c:v>30.193892699999999</c:v>
                </c:pt>
                <c:pt idx="650">
                  <c:v>30.039550571428574</c:v>
                </c:pt>
                <c:pt idx="651">
                  <c:v>29.979620642857146</c:v>
                </c:pt>
                <c:pt idx="652">
                  <c:v>30.006416328571429</c:v>
                </c:pt>
                <c:pt idx="653">
                  <c:v>30.150385114285715</c:v>
                </c:pt>
                <c:pt idx="654">
                  <c:v>30.387822100000001</c:v>
                </c:pt>
                <c:pt idx="655">
                  <c:v>30.672343571428573</c:v>
                </c:pt>
                <c:pt idx="656">
                  <c:v>30.973507200000004</c:v>
                </c:pt>
                <c:pt idx="657">
                  <c:v>31.151854685714291</c:v>
                </c:pt>
                <c:pt idx="658">
                  <c:v>31.269941785714284</c:v>
                </c:pt>
                <c:pt idx="659">
                  <c:v>31.414790800000002</c:v>
                </c:pt>
                <c:pt idx="660">
                  <c:v>31.663269114285718</c:v>
                </c:pt>
                <c:pt idx="661">
                  <c:v>32.088284428571427</c:v>
                </c:pt>
                <c:pt idx="662">
                  <c:v>32.653075442857144</c:v>
                </c:pt>
                <c:pt idx="663">
                  <c:v>33.401913928571432</c:v>
                </c:pt>
                <c:pt idx="664">
                  <c:v>34.201920428571427</c:v>
                </c:pt>
                <c:pt idx="665">
                  <c:v>35.109917128571432</c:v>
                </c:pt>
                <c:pt idx="666">
                  <c:v>36.04819222857143</c:v>
                </c:pt>
                <c:pt idx="667">
                  <c:v>36.907245971428573</c:v>
                </c:pt>
                <c:pt idx="668">
                  <c:v>37.646329800000004</c:v>
                </c:pt>
                <c:pt idx="669">
                  <c:v>38.275314014285719</c:v>
                </c:pt>
                <c:pt idx="670">
                  <c:v>38.772132285714285</c:v>
                </c:pt>
                <c:pt idx="671">
                  <c:v>39.313878014285713</c:v>
                </c:pt>
                <c:pt idx="672">
                  <c:v>39.763786728571425</c:v>
                </c:pt>
                <c:pt idx="673">
                  <c:v>40.13731791428571</c:v>
                </c:pt>
                <c:pt idx="674">
                  <c:v>40.408263314285712</c:v>
                </c:pt>
                <c:pt idx="675">
                  <c:v>40.647409185714288</c:v>
                </c:pt>
                <c:pt idx="676">
                  <c:v>41.004216</c:v>
                </c:pt>
                <c:pt idx="677">
                  <c:v>41.384512085714285</c:v>
                </c:pt>
                <c:pt idx="678">
                  <c:v>41.720435971428572</c:v>
                </c:pt>
                <c:pt idx="679">
                  <c:v>42.053581300000005</c:v>
                </c:pt>
                <c:pt idx="680">
                  <c:v>42.353971085714292</c:v>
                </c:pt>
                <c:pt idx="681">
                  <c:v>42.667797871428569</c:v>
                </c:pt>
                <c:pt idx="682">
                  <c:v>42.965206971428572</c:v>
                </c:pt>
                <c:pt idx="683">
                  <c:v>43.160047071428572</c:v>
                </c:pt>
                <c:pt idx="684">
                  <c:v>43.279012271428577</c:v>
                </c:pt>
                <c:pt idx="685">
                  <c:v>43.25852448571429</c:v>
                </c:pt>
                <c:pt idx="686">
                  <c:v>43.10384584285714</c:v>
                </c:pt>
                <c:pt idx="687">
                  <c:v>42.772883042857146</c:v>
                </c:pt>
                <c:pt idx="688">
                  <c:v>42.250851728571433</c:v>
                </c:pt>
                <c:pt idx="689">
                  <c:v>41.518750228571427</c:v>
                </c:pt>
                <c:pt idx="690">
                  <c:v>40.490035042857144</c:v>
                </c:pt>
                <c:pt idx="691">
                  <c:v>39.380755414285716</c:v>
                </c:pt>
                <c:pt idx="692">
                  <c:v>38.229657228571433</c:v>
                </c:pt>
                <c:pt idx="693">
                  <c:v>37.071277228571432</c:v>
                </c:pt>
                <c:pt idx="694">
                  <c:v>36.040189685714282</c:v>
                </c:pt>
                <c:pt idx="695">
                  <c:v>35.191593899999994</c:v>
                </c:pt>
                <c:pt idx="696">
                  <c:v>34.544445257142847</c:v>
                </c:pt>
                <c:pt idx="697">
                  <c:v>34.19564118571428</c:v>
                </c:pt>
                <c:pt idx="698">
                  <c:v>34.05467064285714</c:v>
                </c:pt>
                <c:pt idx="699">
                  <c:v>34.161828785714285</c:v>
                </c:pt>
                <c:pt idx="700">
                  <c:v>34.601708757142852</c:v>
                </c:pt>
                <c:pt idx="701">
                  <c:v>35.329540742857141</c:v>
                </c:pt>
                <c:pt idx="702">
                  <c:v>36.509437771428573</c:v>
                </c:pt>
                <c:pt idx="703">
                  <c:v>38.219653028571429</c:v>
                </c:pt>
                <c:pt idx="704">
                  <c:v>40.501349671428571</c:v>
                </c:pt>
                <c:pt idx="705">
                  <c:v>43.165308942857145</c:v>
                </c:pt>
                <c:pt idx="706">
                  <c:v>46.191673657142864</c:v>
                </c:pt>
                <c:pt idx="707">
                  <c:v>49.331199542857135</c:v>
                </c:pt>
                <c:pt idx="708">
                  <c:v>52.54939567142857</c:v>
                </c:pt>
                <c:pt idx="709">
                  <c:v>55.672285814285715</c:v>
                </c:pt>
                <c:pt idx="710">
                  <c:v>58.739542057142863</c:v>
                </c:pt>
                <c:pt idx="711">
                  <c:v>61.739262114285715</c:v>
                </c:pt>
                <c:pt idx="712">
                  <c:v>64.679332842857136</c:v>
                </c:pt>
                <c:pt idx="713">
                  <c:v>67.455012085714287</c:v>
                </c:pt>
                <c:pt idx="714">
                  <c:v>70.035884642857141</c:v>
                </c:pt>
                <c:pt idx="715">
                  <c:v>72.496920528571422</c:v>
                </c:pt>
                <c:pt idx="716">
                  <c:v>74.568867842857145</c:v>
                </c:pt>
                <c:pt idx="717">
                  <c:v>76.192994142857145</c:v>
                </c:pt>
                <c:pt idx="718">
                  <c:v>77.380554828571434</c:v>
                </c:pt>
                <c:pt idx="719">
                  <c:v>78.278431671428578</c:v>
                </c:pt>
                <c:pt idx="720">
                  <c:v>78.97236822857144</c:v>
                </c:pt>
                <c:pt idx="721">
                  <c:v>79.754332828571435</c:v>
                </c:pt>
                <c:pt idx="722">
                  <c:v>80.484675342857145</c:v>
                </c:pt>
                <c:pt idx="723">
                  <c:v>81.167696571428579</c:v>
                </c:pt>
                <c:pt idx="724">
                  <c:v>81.502648785714285</c:v>
                </c:pt>
                <c:pt idx="725">
                  <c:v>81.290015585714286</c:v>
                </c:pt>
                <c:pt idx="726">
                  <c:v>80.544396585714281</c:v>
                </c:pt>
                <c:pt idx="727">
                  <c:v>79.293464571428558</c:v>
                </c:pt>
                <c:pt idx="728">
                  <c:v>77.385023114285715</c:v>
                </c:pt>
                <c:pt idx="729">
                  <c:v>74.892798057142855</c:v>
                </c:pt>
                <c:pt idx="730">
                  <c:v>72.027798628571432</c:v>
                </c:pt>
                <c:pt idx="731">
                  <c:v>68.957488857142849</c:v>
                </c:pt>
                <c:pt idx="732">
                  <c:v>65.890417200000002</c:v>
                </c:pt>
                <c:pt idx="733">
                  <c:v>62.996208357142855</c:v>
                </c:pt>
                <c:pt idx="734">
                  <c:v>60.301409857142858</c:v>
                </c:pt>
                <c:pt idx="735">
                  <c:v>57.744941528571431</c:v>
                </c:pt>
                <c:pt idx="736">
                  <c:v>55.48680341428571</c:v>
                </c:pt>
                <c:pt idx="737">
                  <c:v>53.787251828571428</c:v>
                </c:pt>
                <c:pt idx="738">
                  <c:v>52.712077685714284</c:v>
                </c:pt>
                <c:pt idx="739">
                  <c:v>52.129665985714283</c:v>
                </c:pt>
                <c:pt idx="740">
                  <c:v>51.852922657142855</c:v>
                </c:pt>
                <c:pt idx="741">
                  <c:v>51.75693774285714</c:v>
                </c:pt>
                <c:pt idx="742">
                  <c:v>51.931857228571438</c:v>
                </c:pt>
                <c:pt idx="743">
                  <c:v>52.213134614285721</c:v>
                </c:pt>
                <c:pt idx="744">
                  <c:v>52.426435942857147</c:v>
                </c:pt>
                <c:pt idx="745">
                  <c:v>52.546309857142852</c:v>
                </c:pt>
                <c:pt idx="746">
                  <c:v>52.542178585714282</c:v>
                </c:pt>
                <c:pt idx="747">
                  <c:v>52.329093928571432</c:v>
                </c:pt>
                <c:pt idx="748">
                  <c:v>52.043659914285719</c:v>
                </c:pt>
                <c:pt idx="749">
                  <c:v>51.745337971428569</c:v>
                </c:pt>
                <c:pt idx="750">
                  <c:v>51.379089514285702</c:v>
                </c:pt>
                <c:pt idx="751">
                  <c:v>50.741430242857135</c:v>
                </c:pt>
                <c:pt idx="752">
                  <c:v>50.027098914285716</c:v>
                </c:pt>
                <c:pt idx="753">
                  <c:v>49.681835614285717</c:v>
                </c:pt>
                <c:pt idx="754">
                  <c:v>49.75790031428572</c:v>
                </c:pt>
                <c:pt idx="755">
                  <c:v>50.145847271428579</c:v>
                </c:pt>
                <c:pt idx="756">
                  <c:v>50.765113928571438</c:v>
                </c:pt>
                <c:pt idx="757">
                  <c:v>51.724219971428575</c:v>
                </c:pt>
                <c:pt idx="758">
                  <c:v>53.094083342857139</c:v>
                </c:pt>
                <c:pt idx="759">
                  <c:v>54.719941157142856</c:v>
                </c:pt>
                <c:pt idx="760">
                  <c:v>56.29473984285714</c:v>
                </c:pt>
                <c:pt idx="761">
                  <c:v>58.102786142857148</c:v>
                </c:pt>
                <c:pt idx="762">
                  <c:v>59.918700399999999</c:v>
                </c:pt>
                <c:pt idx="763">
                  <c:v>61.602741957142861</c:v>
                </c:pt>
                <c:pt idx="764">
                  <c:v>63.07927111428571</c:v>
                </c:pt>
                <c:pt idx="765">
                  <c:v>64.525086914285708</c:v>
                </c:pt>
                <c:pt idx="766">
                  <c:v>65.644782300000003</c:v>
                </c:pt>
                <c:pt idx="767">
                  <c:v>66.423911885714276</c:v>
                </c:pt>
                <c:pt idx="768">
                  <c:v>66.807656357142847</c:v>
                </c:pt>
                <c:pt idx="769">
                  <c:v>67.032978885714286</c:v>
                </c:pt>
                <c:pt idx="770">
                  <c:v>67.246927914285706</c:v>
                </c:pt>
                <c:pt idx="771">
                  <c:v>67.44616701428572</c:v>
                </c:pt>
                <c:pt idx="772">
                  <c:v>67.763679114285722</c:v>
                </c:pt>
                <c:pt idx="773">
                  <c:v>68.880554199999992</c:v>
                </c:pt>
                <c:pt idx="774">
                  <c:v>70.911644757142867</c:v>
                </c:pt>
                <c:pt idx="775">
                  <c:v>73.473474785714288</c:v>
                </c:pt>
                <c:pt idx="776">
                  <c:v>77.158535614285725</c:v>
                </c:pt>
                <c:pt idx="777">
                  <c:v>81.86786257142856</c:v>
                </c:pt>
                <c:pt idx="778">
                  <c:v>87.773838157142862</c:v>
                </c:pt>
                <c:pt idx="779">
                  <c:v>94.655764428571416</c:v>
                </c:pt>
                <c:pt idx="780">
                  <c:v>101.90987222857143</c:v>
                </c:pt>
                <c:pt idx="781">
                  <c:v>109.12777945714285</c:v>
                </c:pt>
                <c:pt idx="782">
                  <c:v>116.19871120000001</c:v>
                </c:pt>
                <c:pt idx="783">
                  <c:v>122.68267442857143</c:v>
                </c:pt>
                <c:pt idx="784">
                  <c:v>128.5928411142857</c:v>
                </c:pt>
                <c:pt idx="785">
                  <c:v>133.80336418571429</c:v>
                </c:pt>
                <c:pt idx="786">
                  <c:v>137.88351617142857</c:v>
                </c:pt>
                <c:pt idx="787">
                  <c:v>140.55966044285717</c:v>
                </c:pt>
                <c:pt idx="788">
                  <c:v>142.11985372857143</c:v>
                </c:pt>
                <c:pt idx="789">
                  <c:v>142.68361865714286</c:v>
                </c:pt>
                <c:pt idx="790">
                  <c:v>142.01796200000001</c:v>
                </c:pt>
                <c:pt idx="791">
                  <c:v>140.42337604285714</c:v>
                </c:pt>
                <c:pt idx="792">
                  <c:v>137.87658398571429</c:v>
                </c:pt>
                <c:pt idx="793">
                  <c:v>134.83048875714286</c:v>
                </c:pt>
                <c:pt idx="794">
                  <c:v>131.79494092857144</c:v>
                </c:pt>
                <c:pt idx="795">
                  <c:v>128.59032454285716</c:v>
                </c:pt>
                <c:pt idx="796">
                  <c:v>125.44661762857142</c:v>
                </c:pt>
                <c:pt idx="797">
                  <c:v>122.34779534285714</c:v>
                </c:pt>
                <c:pt idx="798">
                  <c:v>119.2364942</c:v>
                </c:pt>
                <c:pt idx="799">
                  <c:v>116.17699612857143</c:v>
                </c:pt>
                <c:pt idx="800">
                  <c:v>113.25892669999999</c:v>
                </c:pt>
                <c:pt idx="801">
                  <c:v>110.30564827142858</c:v>
                </c:pt>
                <c:pt idx="802">
                  <c:v>107.37829778571428</c:v>
                </c:pt>
                <c:pt idx="803">
                  <c:v>104.45481877142856</c:v>
                </c:pt>
                <c:pt idx="804">
                  <c:v>101.724781114285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F80-4D44-B5FB-C7344E7BB008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Facebook</c:v>
                </c:pt>
              </c:strCache>
            </c:strRef>
          </c:tx>
          <c:spPr>
            <a:solidFill>
              <a:schemeClr val="accent2"/>
            </a:solidFill>
            <a:ln w="12700">
              <a:solidFill>
                <a:schemeClr val="accent2"/>
              </a:solidFill>
            </a:ln>
            <a:effectLst/>
          </c:spPr>
          <c:invertIfNegative val="0"/>
          <c:cat>
            <c:numRef>
              <c:f>Sheet1!$A$2:$A$806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J$2:$J$806</c:f>
              <c:numCache>
                <c:formatCode>#,##0</c:formatCode>
                <c:ptCount val="8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475.53419215714285</c:v>
                </c:pt>
                <c:pt idx="7">
                  <c:v>583.97458242857147</c:v>
                </c:pt>
                <c:pt idx="8">
                  <c:v>668.27041071428562</c:v>
                </c:pt>
                <c:pt idx="9">
                  <c:v>723.79597247142851</c:v>
                </c:pt>
                <c:pt idx="10">
                  <c:v>747.02003045714287</c:v>
                </c:pt>
                <c:pt idx="11">
                  <c:v>737.80945481428569</c:v>
                </c:pt>
                <c:pt idx="12">
                  <c:v>697.02789672857136</c:v>
                </c:pt>
                <c:pt idx="13">
                  <c:v>634.47242788571418</c:v>
                </c:pt>
                <c:pt idx="14">
                  <c:v>559.83157081428567</c:v>
                </c:pt>
                <c:pt idx="15">
                  <c:v>483.00255950000002</c:v>
                </c:pt>
                <c:pt idx="16">
                  <c:v>409.05726550000009</c:v>
                </c:pt>
                <c:pt idx="17">
                  <c:v>339.88204521428571</c:v>
                </c:pt>
                <c:pt idx="18">
                  <c:v>276.5118294285715</c:v>
                </c:pt>
                <c:pt idx="19">
                  <c:v>218.89043259999997</c:v>
                </c:pt>
                <c:pt idx="20">
                  <c:v>168.46360664285712</c:v>
                </c:pt>
                <c:pt idx="21">
                  <c:v>129.35524942857143</c:v>
                </c:pt>
                <c:pt idx="22">
                  <c:v>101.27589078571428</c:v>
                </c:pt>
                <c:pt idx="23">
                  <c:v>84.585936871428572</c:v>
                </c:pt>
                <c:pt idx="24">
                  <c:v>80.849127542857147</c:v>
                </c:pt>
                <c:pt idx="25">
                  <c:v>89.985072100000011</c:v>
                </c:pt>
                <c:pt idx="26">
                  <c:v>111.45419391428572</c:v>
                </c:pt>
                <c:pt idx="27">
                  <c:v>139.939753</c:v>
                </c:pt>
                <c:pt idx="28">
                  <c:v>170.71224672857142</c:v>
                </c:pt>
                <c:pt idx="29">
                  <c:v>201.39038937142854</c:v>
                </c:pt>
                <c:pt idx="30">
                  <c:v>229.02987695714282</c:v>
                </c:pt>
                <c:pt idx="31">
                  <c:v>250.96225451428572</c:v>
                </c:pt>
                <c:pt idx="32">
                  <c:v>266.1271378714286</c:v>
                </c:pt>
                <c:pt idx="33">
                  <c:v>274.09563274285711</c:v>
                </c:pt>
                <c:pt idx="34">
                  <c:v>277.38443075714281</c:v>
                </c:pt>
                <c:pt idx="35">
                  <c:v>277.94986941428573</c:v>
                </c:pt>
                <c:pt idx="36">
                  <c:v>276.4319877142857</c:v>
                </c:pt>
                <c:pt idx="37">
                  <c:v>273.93854248571427</c:v>
                </c:pt>
                <c:pt idx="38">
                  <c:v>270.83055661428574</c:v>
                </c:pt>
                <c:pt idx="39">
                  <c:v>267.01657660000006</c:v>
                </c:pt>
                <c:pt idx="40">
                  <c:v>262.90681994285711</c:v>
                </c:pt>
                <c:pt idx="41">
                  <c:v>259.14634114285712</c:v>
                </c:pt>
                <c:pt idx="42">
                  <c:v>256.30312705714283</c:v>
                </c:pt>
                <c:pt idx="43">
                  <c:v>255.45035842857143</c:v>
                </c:pt>
                <c:pt idx="44">
                  <c:v>256.00855857142858</c:v>
                </c:pt>
                <c:pt idx="45">
                  <c:v>257.49448840000002</c:v>
                </c:pt>
                <c:pt idx="46">
                  <c:v>259.76734369999997</c:v>
                </c:pt>
                <c:pt idx="47">
                  <c:v>262.39077301428574</c:v>
                </c:pt>
                <c:pt idx="48">
                  <c:v>265.94734478571428</c:v>
                </c:pt>
                <c:pt idx="49">
                  <c:v>270.89595515714291</c:v>
                </c:pt>
                <c:pt idx="50">
                  <c:v>275.01417248571425</c:v>
                </c:pt>
                <c:pt idx="51">
                  <c:v>278.22968159999999</c:v>
                </c:pt>
                <c:pt idx="52">
                  <c:v>280.81703447142854</c:v>
                </c:pt>
                <c:pt idx="53">
                  <c:v>283.16483582857143</c:v>
                </c:pt>
                <c:pt idx="54">
                  <c:v>285.53503978571428</c:v>
                </c:pt>
                <c:pt idx="55">
                  <c:v>286.6851529857143</c:v>
                </c:pt>
                <c:pt idx="56">
                  <c:v>286.62827607142856</c:v>
                </c:pt>
                <c:pt idx="57">
                  <c:v>286.41767201428564</c:v>
                </c:pt>
                <c:pt idx="58">
                  <c:v>287.2977670285714</c:v>
                </c:pt>
                <c:pt idx="59">
                  <c:v>289.8399210428571</c:v>
                </c:pt>
                <c:pt idx="60">
                  <c:v>294.01992430000001</c:v>
                </c:pt>
                <c:pt idx="61">
                  <c:v>299.58805345714285</c:v>
                </c:pt>
                <c:pt idx="62">
                  <c:v>306.08477052857143</c:v>
                </c:pt>
                <c:pt idx="63">
                  <c:v>312.32151032857143</c:v>
                </c:pt>
                <c:pt idx="64">
                  <c:v>318.36273431428572</c:v>
                </c:pt>
                <c:pt idx="65">
                  <c:v>324.00992502857144</c:v>
                </c:pt>
                <c:pt idx="66">
                  <c:v>328.66281251428569</c:v>
                </c:pt>
                <c:pt idx="67">
                  <c:v>332.4184983714286</c:v>
                </c:pt>
                <c:pt idx="68">
                  <c:v>335.64244575714287</c:v>
                </c:pt>
                <c:pt idx="69">
                  <c:v>338.78820828571435</c:v>
                </c:pt>
                <c:pt idx="70">
                  <c:v>341.66567049999998</c:v>
                </c:pt>
                <c:pt idx="71">
                  <c:v>344.43187341428569</c:v>
                </c:pt>
                <c:pt idx="72">
                  <c:v>346.89552285714279</c:v>
                </c:pt>
                <c:pt idx="73">
                  <c:v>349.34620195714285</c:v>
                </c:pt>
                <c:pt idx="74">
                  <c:v>351.8608585428571</c:v>
                </c:pt>
                <c:pt idx="75">
                  <c:v>354.05352778571427</c:v>
                </c:pt>
                <c:pt idx="76">
                  <c:v>356.10848997142847</c:v>
                </c:pt>
                <c:pt idx="77">
                  <c:v>358.90059865714284</c:v>
                </c:pt>
                <c:pt idx="78">
                  <c:v>361.96394770000001</c:v>
                </c:pt>
                <c:pt idx="79">
                  <c:v>364.68958854285717</c:v>
                </c:pt>
                <c:pt idx="80">
                  <c:v>367.00956155714283</c:v>
                </c:pt>
                <c:pt idx="81">
                  <c:v>368.43142560000007</c:v>
                </c:pt>
                <c:pt idx="82">
                  <c:v>369.18574399999994</c:v>
                </c:pt>
                <c:pt idx="83">
                  <c:v>369.10090717142856</c:v>
                </c:pt>
                <c:pt idx="84">
                  <c:v>367.78141495714289</c:v>
                </c:pt>
                <c:pt idx="85">
                  <c:v>365.41134671428574</c:v>
                </c:pt>
                <c:pt idx="86">
                  <c:v>362.6099665142857</c:v>
                </c:pt>
                <c:pt idx="87">
                  <c:v>358.81217424285711</c:v>
                </c:pt>
                <c:pt idx="88">
                  <c:v>353.51733291428576</c:v>
                </c:pt>
                <c:pt idx="89">
                  <c:v>347.0606890142858</c:v>
                </c:pt>
                <c:pt idx="90">
                  <c:v>339.4553334571429</c:v>
                </c:pt>
                <c:pt idx="91">
                  <c:v>330.64320568571424</c:v>
                </c:pt>
                <c:pt idx="92">
                  <c:v>320.96460075714288</c:v>
                </c:pt>
                <c:pt idx="93">
                  <c:v>310.35797702857144</c:v>
                </c:pt>
                <c:pt idx="94">
                  <c:v>299.62562067142863</c:v>
                </c:pt>
                <c:pt idx="95">
                  <c:v>289.9259951285714</c:v>
                </c:pt>
                <c:pt idx="96">
                  <c:v>281.42420058571423</c:v>
                </c:pt>
                <c:pt idx="97">
                  <c:v>274.8699404285714</c:v>
                </c:pt>
                <c:pt idx="98">
                  <c:v>270.63912332857137</c:v>
                </c:pt>
                <c:pt idx="99">
                  <c:v>268.40318351428567</c:v>
                </c:pt>
                <c:pt idx="100">
                  <c:v>267.97747611428565</c:v>
                </c:pt>
                <c:pt idx="101">
                  <c:v>269.48318222857142</c:v>
                </c:pt>
                <c:pt idx="102">
                  <c:v>272.60674201428571</c:v>
                </c:pt>
                <c:pt idx="103">
                  <c:v>276.78410822857143</c:v>
                </c:pt>
                <c:pt idx="104">
                  <c:v>281.21148322857147</c:v>
                </c:pt>
                <c:pt idx="105">
                  <c:v>285.2475338142857</c:v>
                </c:pt>
                <c:pt idx="106">
                  <c:v>288.64716412857143</c:v>
                </c:pt>
                <c:pt idx="107">
                  <c:v>291.68467997142858</c:v>
                </c:pt>
                <c:pt idx="108">
                  <c:v>294.44373425714286</c:v>
                </c:pt>
                <c:pt idx="109">
                  <c:v>297.17846515714285</c:v>
                </c:pt>
                <c:pt idx="110">
                  <c:v>300.44658012857144</c:v>
                </c:pt>
                <c:pt idx="111">
                  <c:v>304.14693415714282</c:v>
                </c:pt>
                <c:pt idx="112">
                  <c:v>307.60175262857143</c:v>
                </c:pt>
                <c:pt idx="113">
                  <c:v>310.56373041428571</c:v>
                </c:pt>
                <c:pt idx="114">
                  <c:v>312.12187394285718</c:v>
                </c:pt>
                <c:pt idx="115">
                  <c:v>312.058133</c:v>
                </c:pt>
                <c:pt idx="116">
                  <c:v>310.21742204285721</c:v>
                </c:pt>
                <c:pt idx="117">
                  <c:v>305.9474315857143</c:v>
                </c:pt>
                <c:pt idx="118">
                  <c:v>299.31421349999999</c:v>
                </c:pt>
                <c:pt idx="119">
                  <c:v>290.98976127142856</c:v>
                </c:pt>
                <c:pt idx="120">
                  <c:v>281.97808767142857</c:v>
                </c:pt>
                <c:pt idx="121">
                  <c:v>273.06613412857143</c:v>
                </c:pt>
                <c:pt idx="122">
                  <c:v>264.98444228571429</c:v>
                </c:pt>
                <c:pt idx="123">
                  <c:v>258.29642795714284</c:v>
                </c:pt>
                <c:pt idx="124">
                  <c:v>253.65822707142857</c:v>
                </c:pt>
                <c:pt idx="125">
                  <c:v>251.11584327142856</c:v>
                </c:pt>
                <c:pt idx="126">
                  <c:v>251.06471327142859</c:v>
                </c:pt>
                <c:pt idx="127">
                  <c:v>254.08367238571432</c:v>
                </c:pt>
                <c:pt idx="128">
                  <c:v>260.66541535714288</c:v>
                </c:pt>
                <c:pt idx="129">
                  <c:v>270.3574073571429</c:v>
                </c:pt>
                <c:pt idx="130">
                  <c:v>282.35414654285717</c:v>
                </c:pt>
                <c:pt idx="131">
                  <c:v>295.82847668571429</c:v>
                </c:pt>
                <c:pt idx="132">
                  <c:v>310.2309076285714</c:v>
                </c:pt>
                <c:pt idx="133">
                  <c:v>324.21706045714285</c:v>
                </c:pt>
                <c:pt idx="134">
                  <c:v>335.76696850000002</c:v>
                </c:pt>
                <c:pt idx="135">
                  <c:v>344.14534629999991</c:v>
                </c:pt>
                <c:pt idx="136">
                  <c:v>348.71326404285713</c:v>
                </c:pt>
                <c:pt idx="137">
                  <c:v>349.58020494285716</c:v>
                </c:pt>
                <c:pt idx="138">
                  <c:v>347.34139348571432</c:v>
                </c:pt>
                <c:pt idx="139">
                  <c:v>342.72813548571429</c:v>
                </c:pt>
                <c:pt idx="140">
                  <c:v>337.00771004285718</c:v>
                </c:pt>
                <c:pt idx="141">
                  <c:v>330.90171437142862</c:v>
                </c:pt>
                <c:pt idx="142">
                  <c:v>325.04880441428577</c:v>
                </c:pt>
                <c:pt idx="143">
                  <c:v>319.36987991428572</c:v>
                </c:pt>
                <c:pt idx="144">
                  <c:v>313.75046525714288</c:v>
                </c:pt>
                <c:pt idx="145">
                  <c:v>307.63970235714288</c:v>
                </c:pt>
                <c:pt idx="146">
                  <c:v>300.66486544285715</c:v>
                </c:pt>
                <c:pt idx="147">
                  <c:v>292.87169561428573</c:v>
                </c:pt>
                <c:pt idx="148">
                  <c:v>284.81298397142854</c:v>
                </c:pt>
                <c:pt idx="149">
                  <c:v>276.10898837142861</c:v>
                </c:pt>
                <c:pt idx="150">
                  <c:v>267.50118225714283</c:v>
                </c:pt>
                <c:pt idx="151">
                  <c:v>258.99801544285714</c:v>
                </c:pt>
                <c:pt idx="152">
                  <c:v>250.67165727142856</c:v>
                </c:pt>
                <c:pt idx="153">
                  <c:v>242.8364973857143</c:v>
                </c:pt>
                <c:pt idx="154">
                  <c:v>235.65343332857145</c:v>
                </c:pt>
                <c:pt idx="155">
                  <c:v>229.91038867142859</c:v>
                </c:pt>
                <c:pt idx="156">
                  <c:v>225.46210312857141</c:v>
                </c:pt>
                <c:pt idx="157">
                  <c:v>221.56469304285716</c:v>
                </c:pt>
                <c:pt idx="158">
                  <c:v>218.25391928571432</c:v>
                </c:pt>
                <c:pt idx="159">
                  <c:v>215.8942512714286</c:v>
                </c:pt>
                <c:pt idx="160">
                  <c:v>214.55964205714287</c:v>
                </c:pt>
                <c:pt idx="161">
                  <c:v>214.44673904285713</c:v>
                </c:pt>
                <c:pt idx="162">
                  <c:v>214.67128639999996</c:v>
                </c:pt>
                <c:pt idx="163">
                  <c:v>215.51026255714285</c:v>
                </c:pt>
                <c:pt idx="164">
                  <c:v>217.50350594285712</c:v>
                </c:pt>
                <c:pt idx="165">
                  <c:v>220.82946061428569</c:v>
                </c:pt>
                <c:pt idx="166">
                  <c:v>224.92071612857146</c:v>
                </c:pt>
                <c:pt idx="167">
                  <c:v>229.46492039999998</c:v>
                </c:pt>
                <c:pt idx="168">
                  <c:v>236.42893762857142</c:v>
                </c:pt>
                <c:pt idx="169">
                  <c:v>248.28222328571428</c:v>
                </c:pt>
                <c:pt idx="170">
                  <c:v>266.00131044285718</c:v>
                </c:pt>
                <c:pt idx="171">
                  <c:v>289.60807844285711</c:v>
                </c:pt>
                <c:pt idx="172">
                  <c:v>319.66142408571426</c:v>
                </c:pt>
                <c:pt idx="173">
                  <c:v>356.46987031428569</c:v>
                </c:pt>
                <c:pt idx="174">
                  <c:v>398.19461474285714</c:v>
                </c:pt>
                <c:pt idx="175">
                  <c:v>442.28907737142856</c:v>
                </c:pt>
                <c:pt idx="176">
                  <c:v>488.01671267142859</c:v>
                </c:pt>
                <c:pt idx="177">
                  <c:v>534.39457049999999</c:v>
                </c:pt>
                <c:pt idx="178">
                  <c:v>582.20620204285717</c:v>
                </c:pt>
                <c:pt idx="179">
                  <c:v>631.64222860000007</c:v>
                </c:pt>
                <c:pt idx="180">
                  <c:v>683.44551971428575</c:v>
                </c:pt>
                <c:pt idx="181">
                  <c:v>736.36902765714274</c:v>
                </c:pt>
                <c:pt idx="182">
                  <c:v>787.29518718571421</c:v>
                </c:pt>
                <c:pt idx="183">
                  <c:v>831.86467959999993</c:v>
                </c:pt>
                <c:pt idx="184">
                  <c:v>871.90951847142867</c:v>
                </c:pt>
                <c:pt idx="185">
                  <c:v>907.32682667142853</c:v>
                </c:pt>
                <c:pt idx="186">
                  <c:v>936.37835595714284</c:v>
                </c:pt>
                <c:pt idx="187">
                  <c:v>957.64015910000012</c:v>
                </c:pt>
                <c:pt idx="188">
                  <c:v>971.7015899571428</c:v>
                </c:pt>
                <c:pt idx="189">
                  <c:v>979.71832634285715</c:v>
                </c:pt>
                <c:pt idx="190">
                  <c:v>983.06914804285714</c:v>
                </c:pt>
                <c:pt idx="191">
                  <c:v>983.48818808571446</c:v>
                </c:pt>
                <c:pt idx="192">
                  <c:v>983.43568690000006</c:v>
                </c:pt>
                <c:pt idx="193">
                  <c:v>986.26738597142855</c:v>
                </c:pt>
                <c:pt idx="194">
                  <c:v>992.82924725714281</c:v>
                </c:pt>
                <c:pt idx="195">
                  <c:v>996.14057434285701</c:v>
                </c:pt>
                <c:pt idx="196">
                  <c:v>993.58915998571422</c:v>
                </c:pt>
                <c:pt idx="197">
                  <c:v>984.34284121428561</c:v>
                </c:pt>
                <c:pt idx="198">
                  <c:v>962.76190938571415</c:v>
                </c:pt>
                <c:pt idx="199">
                  <c:v>925.98077047142851</c:v>
                </c:pt>
                <c:pt idx="200">
                  <c:v>872.49554494285712</c:v>
                </c:pt>
                <c:pt idx="201">
                  <c:v>803.37139978571429</c:v>
                </c:pt>
                <c:pt idx="202">
                  <c:v>730.49246937142857</c:v>
                </c:pt>
                <c:pt idx="203">
                  <c:v>660.58071124285721</c:v>
                </c:pt>
                <c:pt idx="204">
                  <c:v>598.40440991428568</c:v>
                </c:pt>
                <c:pt idx="205">
                  <c:v>545.99759112857146</c:v>
                </c:pt>
                <c:pt idx="206">
                  <c:v>502.85773147142856</c:v>
                </c:pt>
                <c:pt idx="207">
                  <c:v>468.18281842857147</c:v>
                </c:pt>
                <c:pt idx="208">
                  <c:v>441.42532157142858</c:v>
                </c:pt>
                <c:pt idx="209">
                  <c:v>422.83009002857136</c:v>
                </c:pt>
                <c:pt idx="210">
                  <c:v>409.7633616</c:v>
                </c:pt>
                <c:pt idx="211">
                  <c:v>399.08770257142857</c:v>
                </c:pt>
                <c:pt idx="212">
                  <c:v>390.68011468571427</c:v>
                </c:pt>
                <c:pt idx="213">
                  <c:v>384.59605211428567</c:v>
                </c:pt>
                <c:pt idx="214">
                  <c:v>380.63382860000002</c:v>
                </c:pt>
                <c:pt idx="215">
                  <c:v>378.15976445714284</c:v>
                </c:pt>
                <c:pt idx="216">
                  <c:v>374.70787781428572</c:v>
                </c:pt>
                <c:pt idx="217">
                  <c:v>370.67884491428566</c:v>
                </c:pt>
                <c:pt idx="218">
                  <c:v>366.05154510000006</c:v>
                </c:pt>
                <c:pt idx="219">
                  <c:v>361.17302111428569</c:v>
                </c:pt>
                <c:pt idx="220">
                  <c:v>356.37931815714285</c:v>
                </c:pt>
                <c:pt idx="221">
                  <c:v>351.88537705714288</c:v>
                </c:pt>
                <c:pt idx="222">
                  <c:v>347.66314348571433</c:v>
                </c:pt>
                <c:pt idx="223">
                  <c:v>343.94660222857141</c:v>
                </c:pt>
                <c:pt idx="224">
                  <c:v>340.87770082857145</c:v>
                </c:pt>
                <c:pt idx="225">
                  <c:v>338.03981211428572</c:v>
                </c:pt>
                <c:pt idx="226">
                  <c:v>335.23035841428566</c:v>
                </c:pt>
                <c:pt idx="227">
                  <c:v>334.56928429999999</c:v>
                </c:pt>
                <c:pt idx="228">
                  <c:v>337.20509758571427</c:v>
                </c:pt>
                <c:pt idx="229">
                  <c:v>344.14983689999997</c:v>
                </c:pt>
                <c:pt idx="230">
                  <c:v>353.36246049999994</c:v>
                </c:pt>
                <c:pt idx="231">
                  <c:v>363.38640671428573</c:v>
                </c:pt>
                <c:pt idx="232">
                  <c:v>375.53107558571429</c:v>
                </c:pt>
                <c:pt idx="233">
                  <c:v>390.36207822857142</c:v>
                </c:pt>
                <c:pt idx="234">
                  <c:v>405.74492749999996</c:v>
                </c:pt>
                <c:pt idx="235">
                  <c:v>418.85626308571426</c:v>
                </c:pt>
                <c:pt idx="236">
                  <c:v>428.20748811428575</c:v>
                </c:pt>
                <c:pt idx="237">
                  <c:v>435.00095172857147</c:v>
                </c:pt>
                <c:pt idx="238">
                  <c:v>440.4492082428572</c:v>
                </c:pt>
                <c:pt idx="239">
                  <c:v>442.82621775714284</c:v>
                </c:pt>
                <c:pt idx="240">
                  <c:v>440.65734517142852</c:v>
                </c:pt>
                <c:pt idx="241">
                  <c:v>433.0728491142857</c:v>
                </c:pt>
                <c:pt idx="242">
                  <c:v>421.82590445714283</c:v>
                </c:pt>
                <c:pt idx="243">
                  <c:v>407.97408187142855</c:v>
                </c:pt>
                <c:pt idx="244">
                  <c:v>392.6783797857143</c:v>
                </c:pt>
                <c:pt idx="245">
                  <c:v>377.76368725714286</c:v>
                </c:pt>
                <c:pt idx="246">
                  <c:v>364.82961117142855</c:v>
                </c:pt>
                <c:pt idx="247">
                  <c:v>354.75405549999999</c:v>
                </c:pt>
                <c:pt idx="248">
                  <c:v>347.32497408571425</c:v>
                </c:pt>
                <c:pt idx="249">
                  <c:v>339.81827818571429</c:v>
                </c:pt>
                <c:pt idx="250">
                  <c:v>330.13308691428568</c:v>
                </c:pt>
                <c:pt idx="251">
                  <c:v>317.10926355714281</c:v>
                </c:pt>
                <c:pt idx="252">
                  <c:v>299.23887958571424</c:v>
                </c:pt>
                <c:pt idx="253">
                  <c:v>276.7662956571429</c:v>
                </c:pt>
                <c:pt idx="254">
                  <c:v>252.95066625714284</c:v>
                </c:pt>
                <c:pt idx="255">
                  <c:v>238.38951207142856</c:v>
                </c:pt>
                <c:pt idx="256">
                  <c:v>240.41516540000001</c:v>
                </c:pt>
                <c:pt idx="257">
                  <c:v>263.08057895714285</c:v>
                </c:pt>
                <c:pt idx="258">
                  <c:v>307.37493995714289</c:v>
                </c:pt>
                <c:pt idx="259">
                  <c:v>370.56369442857147</c:v>
                </c:pt>
                <c:pt idx="260">
                  <c:v>450.77816248571435</c:v>
                </c:pt>
                <c:pt idx="261">
                  <c:v>543.51183665714291</c:v>
                </c:pt>
                <c:pt idx="262">
                  <c:v>638.15328865714287</c:v>
                </c:pt>
                <c:pt idx="263">
                  <c:v>729.8933366</c:v>
                </c:pt>
                <c:pt idx="264">
                  <c:v>818.0277855999999</c:v>
                </c:pt>
                <c:pt idx="265">
                  <c:v>897.21464722857127</c:v>
                </c:pt>
                <c:pt idx="266">
                  <c:v>960.30428410000002</c:v>
                </c:pt>
                <c:pt idx="267">
                  <c:v>1003.5241362285714</c:v>
                </c:pt>
                <c:pt idx="268">
                  <c:v>1025.2663534285714</c:v>
                </c:pt>
                <c:pt idx="269">
                  <c:v>1024.0815238142857</c:v>
                </c:pt>
                <c:pt idx="270">
                  <c:v>1001.6596694428572</c:v>
                </c:pt>
                <c:pt idx="271">
                  <c:v>958.63224981428561</c:v>
                </c:pt>
                <c:pt idx="272">
                  <c:v>901.66972345714282</c:v>
                </c:pt>
                <c:pt idx="273">
                  <c:v>842.70278817142855</c:v>
                </c:pt>
                <c:pt idx="274">
                  <c:v>787.89208217142846</c:v>
                </c:pt>
                <c:pt idx="275">
                  <c:v>739.8870766</c:v>
                </c:pt>
                <c:pt idx="276">
                  <c:v>699.35639871428589</c:v>
                </c:pt>
                <c:pt idx="277">
                  <c:v>663.72472642857144</c:v>
                </c:pt>
                <c:pt idx="278">
                  <c:v>630.01662608571428</c:v>
                </c:pt>
                <c:pt idx="279">
                  <c:v>595.78917617142849</c:v>
                </c:pt>
                <c:pt idx="280">
                  <c:v>558.5379834571429</c:v>
                </c:pt>
                <c:pt idx="281">
                  <c:v>516.27565355714285</c:v>
                </c:pt>
                <c:pt idx="282">
                  <c:v>469.20479539999997</c:v>
                </c:pt>
                <c:pt idx="283">
                  <c:v>419.55425690000004</c:v>
                </c:pt>
                <c:pt idx="284">
                  <c:v>368.64026022857144</c:v>
                </c:pt>
                <c:pt idx="285">
                  <c:v>317.83529947142853</c:v>
                </c:pt>
                <c:pt idx="286">
                  <c:v>268.77786094285716</c:v>
                </c:pt>
                <c:pt idx="287">
                  <c:v>222.58601887142854</c:v>
                </c:pt>
                <c:pt idx="288">
                  <c:v>180.73415347142858</c:v>
                </c:pt>
                <c:pt idx="289">
                  <c:v>143.98867354285713</c:v>
                </c:pt>
                <c:pt idx="290">
                  <c:v>112.5681933</c:v>
                </c:pt>
                <c:pt idx="291">
                  <c:v>86.102383257142861</c:v>
                </c:pt>
                <c:pt idx="292">
                  <c:v>64.003350271428573</c:v>
                </c:pt>
                <c:pt idx="293">
                  <c:v>46.272298214285719</c:v>
                </c:pt>
                <c:pt idx="294">
                  <c:v>32.815875257142856</c:v>
                </c:pt>
                <c:pt idx="295">
                  <c:v>23.051644157142857</c:v>
                </c:pt>
                <c:pt idx="296">
                  <c:v>16.162451342857143</c:v>
                </c:pt>
                <c:pt idx="297">
                  <c:v>11.29218992857143</c:v>
                </c:pt>
                <c:pt idx="298">
                  <c:v>8.0924803714285698</c:v>
                </c:pt>
                <c:pt idx="299">
                  <c:v>6.2501225857142861</c:v>
                </c:pt>
                <c:pt idx="300">
                  <c:v>5.0068601428571426</c:v>
                </c:pt>
                <c:pt idx="301">
                  <c:v>4.0017148285714281</c:v>
                </c:pt>
                <c:pt idx="302">
                  <c:v>3.2159908857142852</c:v>
                </c:pt>
                <c:pt idx="303">
                  <c:v>2.6139891571428571</c:v>
                </c:pt>
                <c:pt idx="304">
                  <c:v>2.1560037857142857</c:v>
                </c:pt>
                <c:pt idx="305">
                  <c:v>1.8321530714285714</c:v>
                </c:pt>
                <c:pt idx="306">
                  <c:v>1.6200503714285717</c:v>
                </c:pt>
                <c:pt idx="307">
                  <c:v>1.4283022857142857</c:v>
                </c:pt>
                <c:pt idx="308">
                  <c:v>1.2239678857142857</c:v>
                </c:pt>
                <c:pt idx="309">
                  <c:v>1.0654279</c:v>
                </c:pt>
                <c:pt idx="310">
                  <c:v>0.97959194285714268</c:v>
                </c:pt>
                <c:pt idx="311">
                  <c:v>0.97010188571428579</c:v>
                </c:pt>
                <c:pt idx="312">
                  <c:v>1.0046637142857144</c:v>
                </c:pt>
                <c:pt idx="313">
                  <c:v>1.0594696142857143</c:v>
                </c:pt>
                <c:pt idx="314">
                  <c:v>1.1223290714285714</c:v>
                </c:pt>
                <c:pt idx="315">
                  <c:v>1.1723792285714285</c:v>
                </c:pt>
                <c:pt idx="316">
                  <c:v>1.1801800571428571</c:v>
                </c:pt>
                <c:pt idx="317">
                  <c:v>1.1294199428571428</c:v>
                </c:pt>
                <c:pt idx="318">
                  <c:v>1.0222287714285714</c:v>
                </c:pt>
                <c:pt idx="319">
                  <c:v>0.89285537142857141</c:v>
                </c:pt>
                <c:pt idx="320">
                  <c:v>0.76300329999999994</c:v>
                </c:pt>
                <c:pt idx="321">
                  <c:v>0.6428624285714285</c:v>
                </c:pt>
                <c:pt idx="322">
                  <c:v>0.53407281428571429</c:v>
                </c:pt>
                <c:pt idx="323">
                  <c:v>0.43464977142857142</c:v>
                </c:pt>
                <c:pt idx="324">
                  <c:v>0.41819379999999995</c:v>
                </c:pt>
                <c:pt idx="325">
                  <c:v>0.55142358571428574</c:v>
                </c:pt>
                <c:pt idx="326">
                  <c:v>0.87438649999999996</c:v>
                </c:pt>
                <c:pt idx="327">
                  <c:v>1.4103285285714284</c:v>
                </c:pt>
                <c:pt idx="328">
                  <c:v>2.1007693142857145</c:v>
                </c:pt>
                <c:pt idx="329">
                  <c:v>2.8325779714285715</c:v>
                </c:pt>
                <c:pt idx="330">
                  <c:v>3.5410758571428573</c:v>
                </c:pt>
                <c:pt idx="331">
                  <c:v>4.1250114714285715</c:v>
                </c:pt>
                <c:pt idx="332">
                  <c:v>4.5088650714285716</c:v>
                </c:pt>
                <c:pt idx="333">
                  <c:v>4.6529591285714291</c:v>
                </c:pt>
                <c:pt idx="334">
                  <c:v>4.5420850142857141</c:v>
                </c:pt>
                <c:pt idx="335">
                  <c:v>4.2340349428571438</c:v>
                </c:pt>
                <c:pt idx="336">
                  <c:v>3.8486157285714286</c:v>
                </c:pt>
                <c:pt idx="337">
                  <c:v>3.451273585714286</c:v>
                </c:pt>
                <c:pt idx="338">
                  <c:v>3.0510187714285708</c:v>
                </c:pt>
                <c:pt idx="339">
                  <c:v>2.6561798285714282</c:v>
                </c:pt>
                <c:pt idx="340">
                  <c:v>2.2756958714285713</c:v>
                </c:pt>
                <c:pt idx="341">
                  <c:v>1.9066612571428572</c:v>
                </c:pt>
                <c:pt idx="342">
                  <c:v>1.5703219857142854</c:v>
                </c:pt>
                <c:pt idx="343">
                  <c:v>1.2758190428571428</c:v>
                </c:pt>
                <c:pt idx="344">
                  <c:v>1.0166419285714285</c:v>
                </c:pt>
                <c:pt idx="345">
                  <c:v>0.83504329999999982</c:v>
                </c:pt>
                <c:pt idx="346">
                  <c:v>0.77740120000000001</c:v>
                </c:pt>
                <c:pt idx="347">
                  <c:v>0.85726371428571413</c:v>
                </c:pt>
                <c:pt idx="348">
                  <c:v>1.0771602</c:v>
                </c:pt>
                <c:pt idx="349">
                  <c:v>1.3585929142857143</c:v>
                </c:pt>
                <c:pt idx="350">
                  <c:v>1.6651357</c:v>
                </c:pt>
                <c:pt idx="351">
                  <c:v>1.9861063571428572</c:v>
                </c:pt>
                <c:pt idx="352">
                  <c:v>2.2699585714285715</c:v>
                </c:pt>
                <c:pt idx="353">
                  <c:v>2.4539167428571429</c:v>
                </c:pt>
                <c:pt idx="354">
                  <c:v>2.5069102428571428</c:v>
                </c:pt>
                <c:pt idx="355">
                  <c:v>2.4190833857142855</c:v>
                </c:pt>
                <c:pt idx="356">
                  <c:v>2.2494113857142857</c:v>
                </c:pt>
                <c:pt idx="357">
                  <c:v>2.0255841714285716</c:v>
                </c:pt>
                <c:pt idx="358">
                  <c:v>1.7663410142857141</c:v>
                </c:pt>
                <c:pt idx="359">
                  <c:v>1.4980309428571428</c:v>
                </c:pt>
                <c:pt idx="360">
                  <c:v>1.2336375571428573</c:v>
                </c:pt>
                <c:pt idx="361">
                  <c:v>0.9852301142857145</c:v>
                </c:pt>
                <c:pt idx="362">
                  <c:v>0.75783775714285717</c:v>
                </c:pt>
                <c:pt idx="363">
                  <c:v>0.57127675714285708</c:v>
                </c:pt>
                <c:pt idx="364">
                  <c:v>0.43180561428571435</c:v>
                </c:pt>
                <c:pt idx="365">
                  <c:v>0.34667844285714289</c:v>
                </c:pt>
                <c:pt idx="366">
                  <c:v>0.32969247142857139</c:v>
                </c:pt>
                <c:pt idx="367">
                  <c:v>0.38388847142857141</c:v>
                </c:pt>
                <c:pt idx="368">
                  <c:v>0.6122596857142858</c:v>
                </c:pt>
                <c:pt idx="369">
                  <c:v>1.1513900285714287</c:v>
                </c:pt>
                <c:pt idx="370">
                  <c:v>2.1498719285714287</c:v>
                </c:pt>
                <c:pt idx="371">
                  <c:v>3.5945926142857139</c:v>
                </c:pt>
                <c:pt idx="372">
                  <c:v>5.3155443857142854</c:v>
                </c:pt>
                <c:pt idx="373">
                  <c:v>7.1803107714285712</c:v>
                </c:pt>
                <c:pt idx="374">
                  <c:v>9.2238702428571422</c:v>
                </c:pt>
                <c:pt idx="375">
                  <c:v>11.745731914285715</c:v>
                </c:pt>
                <c:pt idx="376">
                  <c:v>14.839721457142856</c:v>
                </c:pt>
                <c:pt idx="377">
                  <c:v>17.952620400000001</c:v>
                </c:pt>
                <c:pt idx="378">
                  <c:v>20.851989257142858</c:v>
                </c:pt>
                <c:pt idx="379">
                  <c:v>23.655719371428571</c:v>
                </c:pt>
                <c:pt idx="380">
                  <c:v>26.264834214285713</c:v>
                </c:pt>
                <c:pt idx="381">
                  <c:v>28.578422742857139</c:v>
                </c:pt>
                <c:pt idx="382">
                  <c:v>30.242166557142859</c:v>
                </c:pt>
                <c:pt idx="383">
                  <c:v>31.150200485714286</c:v>
                </c:pt>
                <c:pt idx="384">
                  <c:v>31.590936714285714</c:v>
                </c:pt>
                <c:pt idx="385">
                  <c:v>31.810070371428573</c:v>
                </c:pt>
                <c:pt idx="386">
                  <c:v>31.955345857142856</c:v>
                </c:pt>
                <c:pt idx="387">
                  <c:v>32.568050914285713</c:v>
                </c:pt>
                <c:pt idx="388">
                  <c:v>33.928926242857145</c:v>
                </c:pt>
                <c:pt idx="389">
                  <c:v>36.285607528571425</c:v>
                </c:pt>
                <c:pt idx="390">
                  <c:v>39.521317342857138</c:v>
                </c:pt>
                <c:pt idx="391">
                  <c:v>42.949916257142853</c:v>
                </c:pt>
                <c:pt idx="392">
                  <c:v>46.181049028571429</c:v>
                </c:pt>
                <c:pt idx="393">
                  <c:v>49.605480942857142</c:v>
                </c:pt>
                <c:pt idx="394">
                  <c:v>53.357035300000007</c:v>
                </c:pt>
                <c:pt idx="395">
                  <c:v>57.443136814285722</c:v>
                </c:pt>
                <c:pt idx="396">
                  <c:v>61.767363700000011</c:v>
                </c:pt>
                <c:pt idx="397">
                  <c:v>66.328870271428585</c:v>
                </c:pt>
                <c:pt idx="398">
                  <c:v>71.71833205714286</c:v>
                </c:pt>
                <c:pt idx="399">
                  <c:v>78.165345814285715</c:v>
                </c:pt>
                <c:pt idx="400">
                  <c:v>84.945111371428567</c:v>
                </c:pt>
                <c:pt idx="401">
                  <c:v>91.427466885714267</c:v>
                </c:pt>
                <c:pt idx="402">
                  <c:v>97.362917614285706</c:v>
                </c:pt>
                <c:pt idx="403">
                  <c:v>102.55736491428571</c:v>
                </c:pt>
                <c:pt idx="404">
                  <c:v>107.05919072857144</c:v>
                </c:pt>
                <c:pt idx="405">
                  <c:v>111.38871932857141</c:v>
                </c:pt>
                <c:pt idx="406">
                  <c:v>115.59050734285714</c:v>
                </c:pt>
                <c:pt idx="407">
                  <c:v>119.60847659999999</c:v>
                </c:pt>
                <c:pt idx="408">
                  <c:v>123.58099064285713</c:v>
                </c:pt>
                <c:pt idx="409">
                  <c:v>127.84609055714284</c:v>
                </c:pt>
                <c:pt idx="410">
                  <c:v>132.64495035714285</c:v>
                </c:pt>
                <c:pt idx="411">
                  <c:v>138.27646782857141</c:v>
                </c:pt>
                <c:pt idx="412">
                  <c:v>144.48568648571427</c:v>
                </c:pt>
                <c:pt idx="413">
                  <c:v>151.23443648571427</c:v>
                </c:pt>
                <c:pt idx="414">
                  <c:v>158.78198040000001</c:v>
                </c:pt>
                <c:pt idx="415">
                  <c:v>168.07506601428571</c:v>
                </c:pt>
                <c:pt idx="416">
                  <c:v>177.93225651428568</c:v>
                </c:pt>
                <c:pt idx="417">
                  <c:v>186.62258594285714</c:v>
                </c:pt>
                <c:pt idx="418">
                  <c:v>192.90428144285713</c:v>
                </c:pt>
                <c:pt idx="419">
                  <c:v>195.83978467142856</c:v>
                </c:pt>
                <c:pt idx="420">
                  <c:v>195.06638470000001</c:v>
                </c:pt>
                <c:pt idx="421">
                  <c:v>190.49690485714288</c:v>
                </c:pt>
                <c:pt idx="422">
                  <c:v>181.37485101428572</c:v>
                </c:pt>
                <c:pt idx="423">
                  <c:v>168.77177800000001</c:v>
                </c:pt>
                <c:pt idx="424">
                  <c:v>154.48499354285715</c:v>
                </c:pt>
                <c:pt idx="425">
                  <c:v>139.68335155714286</c:v>
                </c:pt>
                <c:pt idx="426">
                  <c:v>125.46719595714285</c:v>
                </c:pt>
                <c:pt idx="427">
                  <c:v>112.52234995714286</c:v>
                </c:pt>
                <c:pt idx="428">
                  <c:v>101.1907844857143</c:v>
                </c:pt>
                <c:pt idx="429">
                  <c:v>91.393653671428567</c:v>
                </c:pt>
                <c:pt idx="430">
                  <c:v>83.405616985714303</c:v>
                </c:pt>
                <c:pt idx="431">
                  <c:v>77.226480999999993</c:v>
                </c:pt>
                <c:pt idx="432">
                  <c:v>72.643829300000007</c:v>
                </c:pt>
                <c:pt idx="433">
                  <c:v>69.530713514285722</c:v>
                </c:pt>
                <c:pt idx="434">
                  <c:v>68.222224485714278</c:v>
                </c:pt>
                <c:pt idx="435">
                  <c:v>68.881251742857145</c:v>
                </c:pt>
                <c:pt idx="436">
                  <c:v>71.49950388571429</c:v>
                </c:pt>
                <c:pt idx="437">
                  <c:v>75.926397728571416</c:v>
                </c:pt>
                <c:pt idx="438">
                  <c:v>82.149699628571426</c:v>
                </c:pt>
                <c:pt idx="439">
                  <c:v>90.354445785714276</c:v>
                </c:pt>
                <c:pt idx="440">
                  <c:v>99.756073785714278</c:v>
                </c:pt>
                <c:pt idx="441">
                  <c:v>107.92689328571429</c:v>
                </c:pt>
                <c:pt idx="442">
                  <c:v>115.6422583857143</c:v>
                </c:pt>
                <c:pt idx="443">
                  <c:v>124.00843032857144</c:v>
                </c:pt>
                <c:pt idx="444">
                  <c:v>133.57518521428571</c:v>
                </c:pt>
                <c:pt idx="445">
                  <c:v>144.42950721428571</c:v>
                </c:pt>
                <c:pt idx="446">
                  <c:v>156.27742230000004</c:v>
                </c:pt>
                <c:pt idx="447">
                  <c:v>169.41822298571429</c:v>
                </c:pt>
                <c:pt idx="448">
                  <c:v>184.8617824714286</c:v>
                </c:pt>
                <c:pt idx="449">
                  <c:v>201.90080958571428</c:v>
                </c:pt>
                <c:pt idx="450">
                  <c:v>219.41905768571428</c:v>
                </c:pt>
                <c:pt idx="451">
                  <c:v>236.55470515714291</c:v>
                </c:pt>
                <c:pt idx="452">
                  <c:v>252.92363001428572</c:v>
                </c:pt>
                <c:pt idx="453">
                  <c:v>268.3671804</c:v>
                </c:pt>
                <c:pt idx="454">
                  <c:v>282.67524101428575</c:v>
                </c:pt>
                <c:pt idx="455">
                  <c:v>296.46573908571429</c:v>
                </c:pt>
                <c:pt idx="456">
                  <c:v>308.08793758571431</c:v>
                </c:pt>
                <c:pt idx="457">
                  <c:v>317.83784628571431</c:v>
                </c:pt>
                <c:pt idx="458">
                  <c:v>327.2810917857143</c:v>
                </c:pt>
                <c:pt idx="459">
                  <c:v>337.54371082857148</c:v>
                </c:pt>
                <c:pt idx="460">
                  <c:v>349.5703707285715</c:v>
                </c:pt>
                <c:pt idx="461">
                  <c:v>363.68895955714288</c:v>
                </c:pt>
                <c:pt idx="462">
                  <c:v>380.43801309999998</c:v>
                </c:pt>
                <c:pt idx="463">
                  <c:v>401.22306174285717</c:v>
                </c:pt>
                <c:pt idx="464">
                  <c:v>425.18733034285714</c:v>
                </c:pt>
                <c:pt idx="465">
                  <c:v>449.97071824285712</c:v>
                </c:pt>
                <c:pt idx="466">
                  <c:v>473.97801324285717</c:v>
                </c:pt>
                <c:pt idx="467">
                  <c:v>495.65760204285715</c:v>
                </c:pt>
                <c:pt idx="468">
                  <c:v>514.50308384285711</c:v>
                </c:pt>
                <c:pt idx="469">
                  <c:v>529.7418015714286</c:v>
                </c:pt>
                <c:pt idx="470">
                  <c:v>541.42560792857148</c:v>
                </c:pt>
                <c:pt idx="471">
                  <c:v>550.67324148571436</c:v>
                </c:pt>
                <c:pt idx="472">
                  <c:v>558.24066544285711</c:v>
                </c:pt>
                <c:pt idx="473">
                  <c:v>565.69947092857149</c:v>
                </c:pt>
                <c:pt idx="474">
                  <c:v>573.87463419999983</c:v>
                </c:pt>
                <c:pt idx="475">
                  <c:v>582.4785898428571</c:v>
                </c:pt>
                <c:pt idx="476">
                  <c:v>591.73917681428577</c:v>
                </c:pt>
                <c:pt idx="477">
                  <c:v>600.89021080000009</c:v>
                </c:pt>
                <c:pt idx="478">
                  <c:v>609.63848382857145</c:v>
                </c:pt>
                <c:pt idx="479">
                  <c:v>617.57130242857147</c:v>
                </c:pt>
                <c:pt idx="480">
                  <c:v>624.01105744285724</c:v>
                </c:pt>
                <c:pt idx="481">
                  <c:v>629.114044457143</c:v>
                </c:pt>
                <c:pt idx="482">
                  <c:v>633.11215230000005</c:v>
                </c:pt>
                <c:pt idx="483">
                  <c:v>636.39271970000016</c:v>
                </c:pt>
                <c:pt idx="484">
                  <c:v>638.84579295714286</c:v>
                </c:pt>
                <c:pt idx="485">
                  <c:v>639.77471012857143</c:v>
                </c:pt>
                <c:pt idx="486">
                  <c:v>639.76178970000001</c:v>
                </c:pt>
                <c:pt idx="487">
                  <c:v>638.76028145714281</c:v>
                </c:pt>
                <c:pt idx="488">
                  <c:v>636.04275458571431</c:v>
                </c:pt>
                <c:pt idx="489">
                  <c:v>632.67107187142858</c:v>
                </c:pt>
                <c:pt idx="490">
                  <c:v>628.6583243857142</c:v>
                </c:pt>
                <c:pt idx="491">
                  <c:v>624.96106150000003</c:v>
                </c:pt>
                <c:pt idx="492">
                  <c:v>621.89541829999996</c:v>
                </c:pt>
                <c:pt idx="493">
                  <c:v>618.78775878571435</c:v>
                </c:pt>
                <c:pt idx="494">
                  <c:v>614.85055878571427</c:v>
                </c:pt>
                <c:pt idx="495">
                  <c:v>611.39844344285723</c:v>
                </c:pt>
                <c:pt idx="496">
                  <c:v>608.64602724285703</c:v>
                </c:pt>
                <c:pt idx="497">
                  <c:v>606.39835789999995</c:v>
                </c:pt>
                <c:pt idx="498">
                  <c:v>604.48190567142854</c:v>
                </c:pt>
                <c:pt idx="499">
                  <c:v>602.66408669999998</c:v>
                </c:pt>
                <c:pt idx="500">
                  <c:v>601.11350832857147</c:v>
                </c:pt>
                <c:pt idx="501">
                  <c:v>601.20248174285712</c:v>
                </c:pt>
                <c:pt idx="502">
                  <c:v>603.34505632857145</c:v>
                </c:pt>
                <c:pt idx="503">
                  <c:v>604.80943397142858</c:v>
                </c:pt>
                <c:pt idx="504">
                  <c:v>603.62911104285718</c:v>
                </c:pt>
                <c:pt idx="505">
                  <c:v>598.48708439999996</c:v>
                </c:pt>
                <c:pt idx="506">
                  <c:v>589.32421758571422</c:v>
                </c:pt>
                <c:pt idx="507">
                  <c:v>576.24236437142861</c:v>
                </c:pt>
                <c:pt idx="508">
                  <c:v>558.53182827142859</c:v>
                </c:pt>
                <c:pt idx="509">
                  <c:v>535.17147842857139</c:v>
                </c:pt>
                <c:pt idx="510">
                  <c:v>508.60172144285713</c:v>
                </c:pt>
                <c:pt idx="511">
                  <c:v>480.87158195714289</c:v>
                </c:pt>
                <c:pt idx="512">
                  <c:v>453.24335764285712</c:v>
                </c:pt>
                <c:pt idx="513">
                  <c:v>425.35096968571423</c:v>
                </c:pt>
                <c:pt idx="514">
                  <c:v>396.20379821428571</c:v>
                </c:pt>
                <c:pt idx="515">
                  <c:v>364.82439040000003</c:v>
                </c:pt>
                <c:pt idx="516">
                  <c:v>331.20937251428575</c:v>
                </c:pt>
                <c:pt idx="517">
                  <c:v>296.29825038571431</c:v>
                </c:pt>
                <c:pt idx="518">
                  <c:v>260.65806111428572</c:v>
                </c:pt>
                <c:pt idx="519">
                  <c:v>224.6246133857143</c:v>
                </c:pt>
                <c:pt idx="520">
                  <c:v>189.43209755714287</c:v>
                </c:pt>
                <c:pt idx="521">
                  <c:v>156.98738682857146</c:v>
                </c:pt>
                <c:pt idx="522">
                  <c:v>128.43671620000001</c:v>
                </c:pt>
                <c:pt idx="523">
                  <c:v>104.08857604285716</c:v>
                </c:pt>
                <c:pt idx="524">
                  <c:v>83.243817199999995</c:v>
                </c:pt>
                <c:pt idx="525">
                  <c:v>65.701741799999994</c:v>
                </c:pt>
                <c:pt idx="526">
                  <c:v>51.223852799999996</c:v>
                </c:pt>
                <c:pt idx="527">
                  <c:v>39.682795185714284</c:v>
                </c:pt>
                <c:pt idx="528">
                  <c:v>30.745470757142861</c:v>
                </c:pt>
                <c:pt idx="529">
                  <c:v>23.963036642857141</c:v>
                </c:pt>
                <c:pt idx="530">
                  <c:v>18.860777014285713</c:v>
                </c:pt>
                <c:pt idx="531">
                  <c:v>15.765154442857144</c:v>
                </c:pt>
                <c:pt idx="532">
                  <c:v>14.415252014285715</c:v>
                </c:pt>
                <c:pt idx="533">
                  <c:v>14.426402671428573</c:v>
                </c:pt>
                <c:pt idx="534">
                  <c:v>15.250161114285714</c:v>
                </c:pt>
                <c:pt idx="535">
                  <c:v>16.542824442857146</c:v>
                </c:pt>
                <c:pt idx="536">
                  <c:v>18.372401442857143</c:v>
                </c:pt>
                <c:pt idx="537">
                  <c:v>20.741938357142853</c:v>
                </c:pt>
                <c:pt idx="538">
                  <c:v>22.681963628571431</c:v>
                </c:pt>
                <c:pt idx="539">
                  <c:v>24.016837442857142</c:v>
                </c:pt>
                <c:pt idx="540">
                  <c:v>24.907380428571429</c:v>
                </c:pt>
                <c:pt idx="541">
                  <c:v>25.479221814285719</c:v>
                </c:pt>
                <c:pt idx="542">
                  <c:v>25.779966657142857</c:v>
                </c:pt>
                <c:pt idx="543">
                  <c:v>25.823467614285711</c:v>
                </c:pt>
                <c:pt idx="544">
                  <c:v>25.666330857142857</c:v>
                </c:pt>
                <c:pt idx="545">
                  <c:v>25.466018828571432</c:v>
                </c:pt>
                <c:pt idx="546">
                  <c:v>25.473749642857143</c:v>
                </c:pt>
                <c:pt idx="547">
                  <c:v>25.814989357142856</c:v>
                </c:pt>
                <c:pt idx="548">
                  <c:v>26.529498485714281</c:v>
                </c:pt>
                <c:pt idx="549">
                  <c:v>27.499494257142853</c:v>
                </c:pt>
                <c:pt idx="550">
                  <c:v>28.486737814285711</c:v>
                </c:pt>
                <c:pt idx="551">
                  <c:v>29.38418887142857</c:v>
                </c:pt>
                <c:pt idx="552">
                  <c:v>30.231555085714287</c:v>
                </c:pt>
                <c:pt idx="553">
                  <c:v>30.822870914285716</c:v>
                </c:pt>
                <c:pt idx="554">
                  <c:v>31.086575114285715</c:v>
                </c:pt>
                <c:pt idx="555">
                  <c:v>31.287988885714288</c:v>
                </c:pt>
                <c:pt idx="556">
                  <c:v>31.73317252857143</c:v>
                </c:pt>
                <c:pt idx="557">
                  <c:v>32.827892257142857</c:v>
                </c:pt>
                <c:pt idx="558">
                  <c:v>34.721476228571426</c:v>
                </c:pt>
                <c:pt idx="559">
                  <c:v>37.33733637142857</c:v>
                </c:pt>
                <c:pt idx="560">
                  <c:v>40.615509271428564</c:v>
                </c:pt>
                <c:pt idx="561">
                  <c:v>44.361308028571436</c:v>
                </c:pt>
                <c:pt idx="562">
                  <c:v>48.34978205714286</c:v>
                </c:pt>
                <c:pt idx="563">
                  <c:v>52.497871485714278</c:v>
                </c:pt>
                <c:pt idx="564">
                  <c:v>56.404701242857136</c:v>
                </c:pt>
                <c:pt idx="565">
                  <c:v>59.878593871428571</c:v>
                </c:pt>
                <c:pt idx="566">
                  <c:v>62.864662614285713</c:v>
                </c:pt>
                <c:pt idx="567">
                  <c:v>65.295631999999983</c:v>
                </c:pt>
                <c:pt idx="568">
                  <c:v>67.150958057142844</c:v>
                </c:pt>
                <c:pt idx="569">
                  <c:v>68.515665057142854</c:v>
                </c:pt>
                <c:pt idx="570">
                  <c:v>69.406617771428571</c:v>
                </c:pt>
                <c:pt idx="571">
                  <c:v>69.759826771428578</c:v>
                </c:pt>
                <c:pt idx="572">
                  <c:v>69.549003757142856</c:v>
                </c:pt>
                <c:pt idx="573">
                  <c:v>68.595925585714284</c:v>
                </c:pt>
                <c:pt idx="574">
                  <c:v>66.745628699999997</c:v>
                </c:pt>
                <c:pt idx="575">
                  <c:v>64.039410785714281</c:v>
                </c:pt>
                <c:pt idx="576">
                  <c:v>60.333122142857135</c:v>
                </c:pt>
                <c:pt idx="577">
                  <c:v>55.586598757142852</c:v>
                </c:pt>
                <c:pt idx="578">
                  <c:v>50.21561651428572</c:v>
                </c:pt>
                <c:pt idx="579">
                  <c:v>44.462449428571418</c:v>
                </c:pt>
                <c:pt idx="580">
                  <c:v>38.780396128571432</c:v>
                </c:pt>
                <c:pt idx="581">
                  <c:v>33.577562871428576</c:v>
                </c:pt>
                <c:pt idx="582">
                  <c:v>29.10127255714286</c:v>
                </c:pt>
                <c:pt idx="583">
                  <c:v>25.523868485714285</c:v>
                </c:pt>
                <c:pt idx="584">
                  <c:v>22.725309485714284</c:v>
                </c:pt>
                <c:pt idx="585">
                  <c:v>20.588830157142858</c:v>
                </c:pt>
                <c:pt idx="586">
                  <c:v>18.99925322857143</c:v>
                </c:pt>
                <c:pt idx="587">
                  <c:v>17.877040557142859</c:v>
                </c:pt>
                <c:pt idx="588">
                  <c:v>17.158790671428569</c:v>
                </c:pt>
                <c:pt idx="589">
                  <c:v>16.705372814285713</c:v>
                </c:pt>
                <c:pt idx="590">
                  <c:v>16.289291200000001</c:v>
                </c:pt>
                <c:pt idx="591">
                  <c:v>15.909979857142856</c:v>
                </c:pt>
                <c:pt idx="592">
                  <c:v>15.48922027142857</c:v>
                </c:pt>
                <c:pt idx="593">
                  <c:v>15.039802885714286</c:v>
                </c:pt>
                <c:pt idx="594">
                  <c:v>14.486594442857141</c:v>
                </c:pt>
                <c:pt idx="595">
                  <c:v>13.769016442857142</c:v>
                </c:pt>
                <c:pt idx="596">
                  <c:v>12.925502871428572</c:v>
                </c:pt>
                <c:pt idx="597">
                  <c:v>12.065243600000002</c:v>
                </c:pt>
                <c:pt idx="598">
                  <c:v>11.199994742857141</c:v>
                </c:pt>
                <c:pt idx="599">
                  <c:v>10.374684242857143</c:v>
                </c:pt>
                <c:pt idx="600">
                  <c:v>9.5951814857142868</c:v>
                </c:pt>
                <c:pt idx="601">
                  <c:v>8.9225649428571447</c:v>
                </c:pt>
                <c:pt idx="602">
                  <c:v>8.3911167428571449</c:v>
                </c:pt>
                <c:pt idx="603">
                  <c:v>7.9782265285714287</c:v>
                </c:pt>
                <c:pt idx="604">
                  <c:v>7.6468002000000004</c:v>
                </c:pt>
                <c:pt idx="605">
                  <c:v>7.5099039999999997</c:v>
                </c:pt>
                <c:pt idx="606">
                  <c:v>7.6048603571428561</c:v>
                </c:pt>
                <c:pt idx="607">
                  <c:v>7.9103343428571415</c:v>
                </c:pt>
                <c:pt idx="608">
                  <c:v>8.4213623714285717</c:v>
                </c:pt>
                <c:pt idx="609">
                  <c:v>9.1518967142857139</c:v>
                </c:pt>
                <c:pt idx="610">
                  <c:v>10.084892471428573</c:v>
                </c:pt>
                <c:pt idx="611">
                  <c:v>11.145927557142857</c:v>
                </c:pt>
                <c:pt idx="612">
                  <c:v>12.133592871428572</c:v>
                </c:pt>
                <c:pt idx="613">
                  <c:v>12.9352792</c:v>
                </c:pt>
                <c:pt idx="614">
                  <c:v>13.801814614285716</c:v>
                </c:pt>
                <c:pt idx="615">
                  <c:v>14.976348028571428</c:v>
                </c:pt>
                <c:pt idx="616">
                  <c:v>16.198686742857141</c:v>
                </c:pt>
                <c:pt idx="617">
                  <c:v>17.371901428571427</c:v>
                </c:pt>
                <c:pt idx="618">
                  <c:v>18.534344099999998</c:v>
                </c:pt>
                <c:pt idx="619">
                  <c:v>19.811150042857143</c:v>
                </c:pt>
                <c:pt idx="620">
                  <c:v>21.297357514285714</c:v>
                </c:pt>
                <c:pt idx="621">
                  <c:v>22.783899771428569</c:v>
                </c:pt>
                <c:pt idx="622">
                  <c:v>23.893932628571427</c:v>
                </c:pt>
                <c:pt idx="623">
                  <c:v>24.774095414285714</c:v>
                </c:pt>
                <c:pt idx="624">
                  <c:v>25.493265757142858</c:v>
                </c:pt>
                <c:pt idx="625">
                  <c:v>26.047229885714284</c:v>
                </c:pt>
                <c:pt idx="626">
                  <c:v>26.374668671428569</c:v>
                </c:pt>
                <c:pt idx="627">
                  <c:v>26.47671857142857</c:v>
                </c:pt>
                <c:pt idx="628">
                  <c:v>26.354004471428571</c:v>
                </c:pt>
                <c:pt idx="629">
                  <c:v>26.111818185714288</c:v>
                </c:pt>
                <c:pt idx="630">
                  <c:v>25.810661871428572</c:v>
                </c:pt>
                <c:pt idx="631">
                  <c:v>25.510616442857145</c:v>
                </c:pt>
                <c:pt idx="632">
                  <c:v>25.325261128571423</c:v>
                </c:pt>
                <c:pt idx="633">
                  <c:v>25.443425757142858</c:v>
                </c:pt>
                <c:pt idx="634">
                  <c:v>25.890571528571432</c:v>
                </c:pt>
                <c:pt idx="635">
                  <c:v>26.652176242857141</c:v>
                </c:pt>
                <c:pt idx="636">
                  <c:v>27.8977778</c:v>
                </c:pt>
                <c:pt idx="637">
                  <c:v>29.820894828571429</c:v>
                </c:pt>
                <c:pt idx="638">
                  <c:v>32.210400700000001</c:v>
                </c:pt>
                <c:pt idx="639">
                  <c:v>34.793935757142862</c:v>
                </c:pt>
                <c:pt idx="640">
                  <c:v>37.398523028571432</c:v>
                </c:pt>
                <c:pt idx="641">
                  <c:v>39.940832399999998</c:v>
                </c:pt>
                <c:pt idx="642">
                  <c:v>42.348108985714283</c:v>
                </c:pt>
                <c:pt idx="643">
                  <c:v>44.313798899999995</c:v>
                </c:pt>
                <c:pt idx="644">
                  <c:v>45.587022342857139</c:v>
                </c:pt>
                <c:pt idx="645">
                  <c:v>46.307826385714286</c:v>
                </c:pt>
                <c:pt idx="646">
                  <c:v>46.651028957142849</c:v>
                </c:pt>
                <c:pt idx="647">
                  <c:v>46.58965757142856</c:v>
                </c:pt>
                <c:pt idx="648">
                  <c:v>46.240863385714285</c:v>
                </c:pt>
                <c:pt idx="649">
                  <c:v>45.73427831428571</c:v>
                </c:pt>
                <c:pt idx="650">
                  <c:v>45.247585357142853</c:v>
                </c:pt>
                <c:pt idx="651">
                  <c:v>44.832732285714293</c:v>
                </c:pt>
                <c:pt idx="652">
                  <c:v>44.507773871428569</c:v>
                </c:pt>
                <c:pt idx="653">
                  <c:v>44.293525914285716</c:v>
                </c:pt>
                <c:pt idx="654">
                  <c:v>44.168615300000006</c:v>
                </c:pt>
                <c:pt idx="655">
                  <c:v>44.030844114285728</c:v>
                </c:pt>
                <c:pt idx="656">
                  <c:v>43.788309514285721</c:v>
                </c:pt>
                <c:pt idx="657">
                  <c:v>43.409654357142863</c:v>
                </c:pt>
                <c:pt idx="658">
                  <c:v>42.92677464285714</c:v>
                </c:pt>
                <c:pt idx="659">
                  <c:v>42.394796957142866</c:v>
                </c:pt>
                <c:pt idx="660">
                  <c:v>41.927537028571429</c:v>
                </c:pt>
                <c:pt idx="661">
                  <c:v>41.716078899999999</c:v>
                </c:pt>
                <c:pt idx="662">
                  <c:v>42.005365742857144</c:v>
                </c:pt>
                <c:pt idx="663">
                  <c:v>42.940169400000002</c:v>
                </c:pt>
                <c:pt idx="664">
                  <c:v>44.376064871428568</c:v>
                </c:pt>
                <c:pt idx="665">
                  <c:v>46.280302042857144</c:v>
                </c:pt>
                <c:pt idx="666">
                  <c:v>48.515817985714293</c:v>
                </c:pt>
                <c:pt idx="667">
                  <c:v>50.788795000000007</c:v>
                </c:pt>
                <c:pt idx="668">
                  <c:v>52.865601357142857</c:v>
                </c:pt>
                <c:pt idx="669">
                  <c:v>54.485132985714287</c:v>
                </c:pt>
                <c:pt idx="670">
                  <c:v>55.493555742857147</c:v>
                </c:pt>
                <c:pt idx="671">
                  <c:v>56.019936371428571</c:v>
                </c:pt>
                <c:pt idx="672">
                  <c:v>56.078135771428585</c:v>
                </c:pt>
                <c:pt idx="673">
                  <c:v>55.718224599999999</c:v>
                </c:pt>
                <c:pt idx="674">
                  <c:v>55.099199571428571</c:v>
                </c:pt>
                <c:pt idx="675">
                  <c:v>54.509282842857147</c:v>
                </c:pt>
                <c:pt idx="676">
                  <c:v>54.243056085714286</c:v>
                </c:pt>
                <c:pt idx="677">
                  <c:v>54.40988395714286</c:v>
                </c:pt>
                <c:pt idx="678">
                  <c:v>54.95819792857143</c:v>
                </c:pt>
                <c:pt idx="679">
                  <c:v>55.98796351428571</c:v>
                </c:pt>
                <c:pt idx="680">
                  <c:v>57.794071928571427</c:v>
                </c:pt>
                <c:pt idx="681">
                  <c:v>60.549017228571422</c:v>
                </c:pt>
                <c:pt idx="682">
                  <c:v>64.172584014285718</c:v>
                </c:pt>
                <c:pt idx="683">
                  <c:v>68.375385985714288</c:v>
                </c:pt>
                <c:pt idx="684">
                  <c:v>72.985136271428573</c:v>
                </c:pt>
                <c:pt idx="685">
                  <c:v>77.930714585714284</c:v>
                </c:pt>
                <c:pt idx="686">
                  <c:v>83.064410571428567</c:v>
                </c:pt>
                <c:pt idx="687">
                  <c:v>88.053493285714282</c:v>
                </c:pt>
                <c:pt idx="688">
                  <c:v>92.68117411428571</c:v>
                </c:pt>
                <c:pt idx="689">
                  <c:v>96.729864485714288</c:v>
                </c:pt>
                <c:pt idx="690">
                  <c:v>100.18458527142857</c:v>
                </c:pt>
                <c:pt idx="691">
                  <c:v>103.24571030000001</c:v>
                </c:pt>
                <c:pt idx="692">
                  <c:v>106.13996971428573</c:v>
                </c:pt>
                <c:pt idx="693">
                  <c:v>108.70823228571427</c:v>
                </c:pt>
                <c:pt idx="694">
                  <c:v>110.81036224285712</c:v>
                </c:pt>
                <c:pt idx="695">
                  <c:v>112.38664778571426</c:v>
                </c:pt>
                <c:pt idx="696">
                  <c:v>113.54496624285714</c:v>
                </c:pt>
                <c:pt idx="697">
                  <c:v>114.48052525714284</c:v>
                </c:pt>
                <c:pt idx="698">
                  <c:v>115.18114002857143</c:v>
                </c:pt>
                <c:pt idx="699">
                  <c:v>115.6476411</c:v>
                </c:pt>
                <c:pt idx="700">
                  <c:v>116.12285971428572</c:v>
                </c:pt>
                <c:pt idx="701">
                  <c:v>116.8490786</c:v>
                </c:pt>
                <c:pt idx="702">
                  <c:v>118.02676415714286</c:v>
                </c:pt>
                <c:pt idx="703">
                  <c:v>119.65721671428571</c:v>
                </c:pt>
                <c:pt idx="704">
                  <c:v>121.66934864285714</c:v>
                </c:pt>
                <c:pt idx="705">
                  <c:v>124.03838142857141</c:v>
                </c:pt>
                <c:pt idx="706">
                  <c:v>127.0614076142857</c:v>
                </c:pt>
                <c:pt idx="707">
                  <c:v>130.87929047142856</c:v>
                </c:pt>
                <c:pt idx="708">
                  <c:v>135.79934344285715</c:v>
                </c:pt>
                <c:pt idx="709">
                  <c:v>141.9200971857143</c:v>
                </c:pt>
                <c:pt idx="710">
                  <c:v>149.28348948571428</c:v>
                </c:pt>
                <c:pt idx="711">
                  <c:v>157.82924611428572</c:v>
                </c:pt>
                <c:pt idx="712">
                  <c:v>167.62428722857143</c:v>
                </c:pt>
                <c:pt idx="713">
                  <c:v>178.24197955714288</c:v>
                </c:pt>
                <c:pt idx="714">
                  <c:v>189.38390365714287</c:v>
                </c:pt>
                <c:pt idx="715">
                  <c:v>200.41090598571427</c:v>
                </c:pt>
                <c:pt idx="716">
                  <c:v>210.67658548571427</c:v>
                </c:pt>
                <c:pt idx="717">
                  <c:v>219.78733738571427</c:v>
                </c:pt>
                <c:pt idx="718">
                  <c:v>228.40771392857141</c:v>
                </c:pt>
                <c:pt idx="719">
                  <c:v>236.78693532857139</c:v>
                </c:pt>
                <c:pt idx="720">
                  <c:v>245.07263492857143</c:v>
                </c:pt>
                <c:pt idx="721">
                  <c:v>252.62321762857141</c:v>
                </c:pt>
                <c:pt idx="722">
                  <c:v>259.04612107142856</c:v>
                </c:pt>
                <c:pt idx="723">
                  <c:v>264.52761917142857</c:v>
                </c:pt>
                <c:pt idx="724">
                  <c:v>269.34054121428574</c:v>
                </c:pt>
                <c:pt idx="725">
                  <c:v>272.66903880000001</c:v>
                </c:pt>
                <c:pt idx="726">
                  <c:v>273.87334188571424</c:v>
                </c:pt>
                <c:pt idx="727">
                  <c:v>273.11161564285715</c:v>
                </c:pt>
                <c:pt idx="728">
                  <c:v>271.50831239999997</c:v>
                </c:pt>
                <c:pt idx="729">
                  <c:v>270.0402186</c:v>
                </c:pt>
                <c:pt idx="730">
                  <c:v>268.57375919999998</c:v>
                </c:pt>
                <c:pt idx="731">
                  <c:v>266.84534675714286</c:v>
                </c:pt>
                <c:pt idx="732">
                  <c:v>264.8508903</c:v>
                </c:pt>
                <c:pt idx="733">
                  <c:v>262.79574268571429</c:v>
                </c:pt>
                <c:pt idx="734">
                  <c:v>260.3209667142857</c:v>
                </c:pt>
                <c:pt idx="735">
                  <c:v>257.0889998714286</c:v>
                </c:pt>
                <c:pt idx="736">
                  <c:v>252.66438980000001</c:v>
                </c:pt>
                <c:pt idx="737">
                  <c:v>247.50931141428575</c:v>
                </c:pt>
                <c:pt idx="738">
                  <c:v>242.10511615714287</c:v>
                </c:pt>
                <c:pt idx="739">
                  <c:v>236.70587927142861</c:v>
                </c:pt>
                <c:pt idx="740">
                  <c:v>231.5814386142857</c:v>
                </c:pt>
                <c:pt idx="741">
                  <c:v>227.03893664285715</c:v>
                </c:pt>
                <c:pt idx="742">
                  <c:v>222.94495000000001</c:v>
                </c:pt>
                <c:pt idx="743">
                  <c:v>219.25648387142857</c:v>
                </c:pt>
                <c:pt idx="744">
                  <c:v>216.05038744285713</c:v>
                </c:pt>
                <c:pt idx="745">
                  <c:v>213.37380314285716</c:v>
                </c:pt>
                <c:pt idx="746">
                  <c:v>211.42028484285714</c:v>
                </c:pt>
                <c:pt idx="747">
                  <c:v>210.19952807142857</c:v>
                </c:pt>
                <c:pt idx="748">
                  <c:v>209.62912722857143</c:v>
                </c:pt>
                <c:pt idx="749">
                  <c:v>209.64112215714289</c:v>
                </c:pt>
                <c:pt idx="750">
                  <c:v>210.26354834285715</c:v>
                </c:pt>
                <c:pt idx="751">
                  <c:v>210.96072789999999</c:v>
                </c:pt>
                <c:pt idx="752">
                  <c:v>211.2977580714286</c:v>
                </c:pt>
                <c:pt idx="753">
                  <c:v>211.01610397142855</c:v>
                </c:pt>
                <c:pt idx="754">
                  <c:v>210.05934417142856</c:v>
                </c:pt>
                <c:pt idx="755">
                  <c:v>208.45014677142856</c:v>
                </c:pt>
                <c:pt idx="756">
                  <c:v>206.53244565714286</c:v>
                </c:pt>
                <c:pt idx="757">
                  <c:v>204.46199847142859</c:v>
                </c:pt>
                <c:pt idx="758">
                  <c:v>202.89793582857143</c:v>
                </c:pt>
                <c:pt idx="759">
                  <c:v>201.93444797142857</c:v>
                </c:pt>
                <c:pt idx="760">
                  <c:v>201.59663391428572</c:v>
                </c:pt>
                <c:pt idx="761">
                  <c:v>201.66006405714285</c:v>
                </c:pt>
                <c:pt idx="762">
                  <c:v>202.43636832857143</c:v>
                </c:pt>
                <c:pt idx="763">
                  <c:v>204.01278698571429</c:v>
                </c:pt>
                <c:pt idx="764">
                  <c:v>206.30381251428571</c:v>
                </c:pt>
                <c:pt idx="765">
                  <c:v>208.89509691428572</c:v>
                </c:pt>
                <c:pt idx="766">
                  <c:v>212.02576285714287</c:v>
                </c:pt>
                <c:pt idx="767">
                  <c:v>215.71710592857144</c:v>
                </c:pt>
                <c:pt idx="768">
                  <c:v>220.01879002857143</c:v>
                </c:pt>
                <c:pt idx="769">
                  <c:v>224.60442987142855</c:v>
                </c:pt>
                <c:pt idx="770">
                  <c:v>229.5232569142857</c:v>
                </c:pt>
                <c:pt idx="771">
                  <c:v>234.81557074285715</c:v>
                </c:pt>
                <c:pt idx="772">
                  <c:v>240.38797902857144</c:v>
                </c:pt>
                <c:pt idx="773">
                  <c:v>245.92715115714284</c:v>
                </c:pt>
                <c:pt idx="774">
                  <c:v>251.40561068571429</c:v>
                </c:pt>
                <c:pt idx="775">
                  <c:v>256.82170537142855</c:v>
                </c:pt>
                <c:pt idx="776">
                  <c:v>261.63673637142858</c:v>
                </c:pt>
                <c:pt idx="777">
                  <c:v>265.31920588571433</c:v>
                </c:pt>
                <c:pt idx="778">
                  <c:v>267.70372067142864</c:v>
                </c:pt>
                <c:pt idx="779">
                  <c:v>268.68695802857144</c:v>
                </c:pt>
                <c:pt idx="780">
                  <c:v>268.30543488571431</c:v>
                </c:pt>
                <c:pt idx="781">
                  <c:v>266.57874232857142</c:v>
                </c:pt>
                <c:pt idx="782">
                  <c:v>263.78970881428575</c:v>
                </c:pt>
                <c:pt idx="783">
                  <c:v>260.53493084285714</c:v>
                </c:pt>
                <c:pt idx="784">
                  <c:v>257.17157217142858</c:v>
                </c:pt>
                <c:pt idx="785">
                  <c:v>253.87462914285717</c:v>
                </c:pt>
                <c:pt idx="786">
                  <c:v>250.97084564285711</c:v>
                </c:pt>
                <c:pt idx="787">
                  <c:v>248.77420757142858</c:v>
                </c:pt>
                <c:pt idx="788">
                  <c:v>247.59878071428571</c:v>
                </c:pt>
                <c:pt idx="789">
                  <c:v>247.26180324285716</c:v>
                </c:pt>
                <c:pt idx="790">
                  <c:v>247.7902148</c:v>
                </c:pt>
                <c:pt idx="791">
                  <c:v>248.86330972857144</c:v>
                </c:pt>
                <c:pt idx="792">
                  <c:v>250.49024775714287</c:v>
                </c:pt>
                <c:pt idx="793">
                  <c:v>252.79116054285714</c:v>
                </c:pt>
                <c:pt idx="794">
                  <c:v>255.56827021428575</c:v>
                </c:pt>
                <c:pt idx="795">
                  <c:v>258.3787552</c:v>
                </c:pt>
                <c:pt idx="796">
                  <c:v>261.03211604285713</c:v>
                </c:pt>
                <c:pt idx="797">
                  <c:v>263.31676091428574</c:v>
                </c:pt>
                <c:pt idx="798">
                  <c:v>264.95033290000003</c:v>
                </c:pt>
                <c:pt idx="799">
                  <c:v>265.3347525142857</c:v>
                </c:pt>
                <c:pt idx="800">
                  <c:v>263.8882658857143</c:v>
                </c:pt>
                <c:pt idx="801">
                  <c:v>260.4936099285714</c:v>
                </c:pt>
                <c:pt idx="802">
                  <c:v>255.14805147142854</c:v>
                </c:pt>
                <c:pt idx="803">
                  <c:v>248.06842895714286</c:v>
                </c:pt>
                <c:pt idx="804">
                  <c:v>239.28180417142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80-4D44-B5FB-C7344E7BB008}"/>
            </c:ext>
          </c:extLst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Google</c:v>
                </c:pt>
              </c:strCache>
            </c:strRef>
          </c:tx>
          <c:spPr>
            <a:solidFill>
              <a:schemeClr val="accent4">
                <a:lumMod val="50000"/>
              </a:schemeClr>
            </a:solidFill>
            <a:ln w="12700">
              <a:solidFill>
                <a:schemeClr val="accent4">
                  <a:lumMod val="50000"/>
                </a:schemeClr>
              </a:solidFill>
            </a:ln>
            <a:effectLst/>
          </c:spPr>
          <c:invertIfNegative val="0"/>
          <c:cat>
            <c:numRef>
              <c:f>Sheet1!$A$2:$A$806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K$2:$K$806</c:f>
              <c:numCache>
                <c:formatCode>#,##0</c:formatCode>
                <c:ptCount val="8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324.58048907142853</c:v>
                </c:pt>
                <c:pt idx="7">
                  <c:v>398.94272784285715</c:v>
                </c:pt>
                <c:pt idx="8">
                  <c:v>457.70319381428573</c:v>
                </c:pt>
                <c:pt idx="9">
                  <c:v>497.7760739142858</c:v>
                </c:pt>
                <c:pt idx="10">
                  <c:v>510.15860098571432</c:v>
                </c:pt>
                <c:pt idx="11">
                  <c:v>501.20563082857137</c:v>
                </c:pt>
                <c:pt idx="12">
                  <c:v>476.81981885714282</c:v>
                </c:pt>
                <c:pt idx="13">
                  <c:v>440.23165891428573</c:v>
                </c:pt>
                <c:pt idx="14">
                  <c:v>397.13533075714287</c:v>
                </c:pt>
                <c:pt idx="15">
                  <c:v>352.51052315714287</c:v>
                </c:pt>
                <c:pt idx="16">
                  <c:v>309.38600592857136</c:v>
                </c:pt>
                <c:pt idx="17">
                  <c:v>267.22452699999997</c:v>
                </c:pt>
                <c:pt idx="18">
                  <c:v>229.05694471428569</c:v>
                </c:pt>
                <c:pt idx="19">
                  <c:v>194.90627049999995</c:v>
                </c:pt>
                <c:pt idx="20">
                  <c:v>164.26744885714285</c:v>
                </c:pt>
                <c:pt idx="21">
                  <c:v>139.72195271428572</c:v>
                </c:pt>
                <c:pt idx="22">
                  <c:v>121.14832980000003</c:v>
                </c:pt>
                <c:pt idx="23">
                  <c:v>107.41205372857144</c:v>
                </c:pt>
                <c:pt idx="24">
                  <c:v>99.7553686142857</c:v>
                </c:pt>
                <c:pt idx="25">
                  <c:v>98.80692627142858</c:v>
                </c:pt>
                <c:pt idx="26">
                  <c:v>102.17737747142858</c:v>
                </c:pt>
                <c:pt idx="27">
                  <c:v>112.72065555714286</c:v>
                </c:pt>
                <c:pt idx="28">
                  <c:v>127.08123375714285</c:v>
                </c:pt>
                <c:pt idx="29">
                  <c:v>143.40762208571428</c:v>
                </c:pt>
                <c:pt idx="30">
                  <c:v>161.09161005714287</c:v>
                </c:pt>
                <c:pt idx="31">
                  <c:v>179.19549301428574</c:v>
                </c:pt>
                <c:pt idx="32">
                  <c:v>192.98258465714284</c:v>
                </c:pt>
                <c:pt idx="33">
                  <c:v>203.93572687142859</c:v>
                </c:pt>
                <c:pt idx="34">
                  <c:v>208.38278769999997</c:v>
                </c:pt>
                <c:pt idx="35">
                  <c:v>207.92295732857141</c:v>
                </c:pt>
                <c:pt idx="36">
                  <c:v>204.34624612857144</c:v>
                </c:pt>
                <c:pt idx="37">
                  <c:v>198.6893429714286</c:v>
                </c:pt>
                <c:pt idx="38">
                  <c:v>191.51702628571428</c:v>
                </c:pt>
                <c:pt idx="39">
                  <c:v>183.59782171428569</c:v>
                </c:pt>
                <c:pt idx="40">
                  <c:v>176.58590701428571</c:v>
                </c:pt>
                <c:pt idx="41">
                  <c:v>169.89373218571427</c:v>
                </c:pt>
                <c:pt idx="42">
                  <c:v>164.38942777142856</c:v>
                </c:pt>
                <c:pt idx="43">
                  <c:v>160.25697207142861</c:v>
                </c:pt>
                <c:pt idx="44">
                  <c:v>156.79396295714287</c:v>
                </c:pt>
                <c:pt idx="45">
                  <c:v>154.32083478571431</c:v>
                </c:pt>
                <c:pt idx="46">
                  <c:v>152.97028705714288</c:v>
                </c:pt>
                <c:pt idx="47">
                  <c:v>150.90141847142857</c:v>
                </c:pt>
                <c:pt idx="48">
                  <c:v>149.32104672857142</c:v>
                </c:pt>
                <c:pt idx="49">
                  <c:v>147.34629375714286</c:v>
                </c:pt>
                <c:pt idx="50">
                  <c:v>144.51042601428571</c:v>
                </c:pt>
                <c:pt idx="51">
                  <c:v>141.79428617142858</c:v>
                </c:pt>
                <c:pt idx="52">
                  <c:v>139.67185435714285</c:v>
                </c:pt>
                <c:pt idx="53">
                  <c:v>137.86062838571428</c:v>
                </c:pt>
                <c:pt idx="54">
                  <c:v>137.04540451428571</c:v>
                </c:pt>
                <c:pt idx="55">
                  <c:v>137.41689848571428</c:v>
                </c:pt>
                <c:pt idx="56">
                  <c:v>140.12651838571429</c:v>
                </c:pt>
                <c:pt idx="57">
                  <c:v>145.28490805714287</c:v>
                </c:pt>
                <c:pt idx="58">
                  <c:v>152.81547742857146</c:v>
                </c:pt>
                <c:pt idx="59">
                  <c:v>162.88132812857143</c:v>
                </c:pt>
                <c:pt idx="60">
                  <c:v>175.89213568571429</c:v>
                </c:pt>
                <c:pt idx="61">
                  <c:v>190.63523542857143</c:v>
                </c:pt>
                <c:pt idx="62">
                  <c:v>205.8506059571429</c:v>
                </c:pt>
                <c:pt idx="63">
                  <c:v>219.74534834285714</c:v>
                </c:pt>
                <c:pt idx="64">
                  <c:v>231.92721074285711</c:v>
                </c:pt>
                <c:pt idx="65">
                  <c:v>241.44296797142854</c:v>
                </c:pt>
                <c:pt idx="66">
                  <c:v>247.75663617142854</c:v>
                </c:pt>
                <c:pt idx="67">
                  <c:v>250.78470852857143</c:v>
                </c:pt>
                <c:pt idx="68">
                  <c:v>251.45438650000003</c:v>
                </c:pt>
                <c:pt idx="69">
                  <c:v>250.76970242857143</c:v>
                </c:pt>
                <c:pt idx="70">
                  <c:v>248.78527832857145</c:v>
                </c:pt>
                <c:pt idx="71">
                  <c:v>246.06204082857144</c:v>
                </c:pt>
                <c:pt idx="72">
                  <c:v>242.89333537142855</c:v>
                </c:pt>
                <c:pt idx="73">
                  <c:v>238.88514201428572</c:v>
                </c:pt>
                <c:pt idx="74">
                  <c:v>233.90256772857146</c:v>
                </c:pt>
                <c:pt idx="75">
                  <c:v>228.2126588142857</c:v>
                </c:pt>
                <c:pt idx="76">
                  <c:v>221.88219131428568</c:v>
                </c:pt>
                <c:pt idx="77">
                  <c:v>215.55710135714284</c:v>
                </c:pt>
                <c:pt idx="78">
                  <c:v>208.99268774285716</c:v>
                </c:pt>
                <c:pt idx="79">
                  <c:v>202.24542862857143</c:v>
                </c:pt>
                <c:pt idx="80">
                  <c:v>195.71251264285715</c:v>
                </c:pt>
                <c:pt idx="81">
                  <c:v>189.82268384285712</c:v>
                </c:pt>
                <c:pt idx="82">
                  <c:v>184.61241065714285</c:v>
                </c:pt>
                <c:pt idx="83">
                  <c:v>180.26929822857142</c:v>
                </c:pt>
                <c:pt idx="84">
                  <c:v>176.72770141428572</c:v>
                </c:pt>
                <c:pt idx="85">
                  <c:v>174.20769067142857</c:v>
                </c:pt>
                <c:pt idx="86">
                  <c:v>173.54778217142857</c:v>
                </c:pt>
                <c:pt idx="87">
                  <c:v>174.45363750000001</c:v>
                </c:pt>
                <c:pt idx="88">
                  <c:v>176.62130061428573</c:v>
                </c:pt>
                <c:pt idx="89">
                  <c:v>179.68737815714286</c:v>
                </c:pt>
                <c:pt idx="90">
                  <c:v>183.20162089999999</c:v>
                </c:pt>
                <c:pt idx="91">
                  <c:v>187.0731973</c:v>
                </c:pt>
                <c:pt idx="92">
                  <c:v>191.12160882857142</c:v>
                </c:pt>
                <c:pt idx="93">
                  <c:v>194.65780344285716</c:v>
                </c:pt>
                <c:pt idx="94">
                  <c:v>197.47678791428569</c:v>
                </c:pt>
                <c:pt idx="95">
                  <c:v>199.52145818571429</c:v>
                </c:pt>
                <c:pt idx="96">
                  <c:v>200.81024694285716</c:v>
                </c:pt>
                <c:pt idx="97">
                  <c:v>201.58595789999998</c:v>
                </c:pt>
                <c:pt idx="98">
                  <c:v>201.80918502857142</c:v>
                </c:pt>
                <c:pt idx="99">
                  <c:v>201.20583907142856</c:v>
                </c:pt>
                <c:pt idx="100">
                  <c:v>199.86891787142855</c:v>
                </c:pt>
                <c:pt idx="101">
                  <c:v>198.1815756</c:v>
                </c:pt>
                <c:pt idx="102">
                  <c:v>196.59909392857142</c:v>
                </c:pt>
                <c:pt idx="103">
                  <c:v>195.05770584285713</c:v>
                </c:pt>
                <c:pt idx="104">
                  <c:v>193.3365759142857</c:v>
                </c:pt>
                <c:pt idx="105">
                  <c:v>191.75591794285714</c:v>
                </c:pt>
                <c:pt idx="106">
                  <c:v>190.12864409999997</c:v>
                </c:pt>
                <c:pt idx="107">
                  <c:v>188.34934302857144</c:v>
                </c:pt>
                <c:pt idx="108">
                  <c:v>186.66179445714286</c:v>
                </c:pt>
                <c:pt idx="109">
                  <c:v>184.92104238571429</c:v>
                </c:pt>
                <c:pt idx="110">
                  <c:v>183.17828318571429</c:v>
                </c:pt>
                <c:pt idx="111">
                  <c:v>181.05354632857143</c:v>
                </c:pt>
                <c:pt idx="112">
                  <c:v>178.84352607142858</c:v>
                </c:pt>
                <c:pt idx="113">
                  <c:v>176.63527875714286</c:v>
                </c:pt>
                <c:pt idx="114">
                  <c:v>173.96106638571428</c:v>
                </c:pt>
                <c:pt idx="115">
                  <c:v>171.36397445714286</c:v>
                </c:pt>
                <c:pt idx="116">
                  <c:v>169.33225818571427</c:v>
                </c:pt>
                <c:pt idx="117">
                  <c:v>168.4705179</c:v>
                </c:pt>
                <c:pt idx="118">
                  <c:v>169.20451212857142</c:v>
                </c:pt>
                <c:pt idx="119">
                  <c:v>170.54541128571427</c:v>
                </c:pt>
                <c:pt idx="120">
                  <c:v>172.27463338571428</c:v>
                </c:pt>
                <c:pt idx="121">
                  <c:v>174.59532782857144</c:v>
                </c:pt>
                <c:pt idx="122">
                  <c:v>177.44383774285714</c:v>
                </c:pt>
                <c:pt idx="123">
                  <c:v>180.88248715714286</c:v>
                </c:pt>
                <c:pt idx="124">
                  <c:v>184.78675620000004</c:v>
                </c:pt>
                <c:pt idx="125">
                  <c:v>188.97914381428569</c:v>
                </c:pt>
                <c:pt idx="126">
                  <c:v>193.13212987142856</c:v>
                </c:pt>
                <c:pt idx="127">
                  <c:v>197.19020459999999</c:v>
                </c:pt>
                <c:pt idx="128">
                  <c:v>200.99542337142859</c:v>
                </c:pt>
                <c:pt idx="129">
                  <c:v>203.51960054285715</c:v>
                </c:pt>
                <c:pt idx="130">
                  <c:v>204.18901155714283</c:v>
                </c:pt>
                <c:pt idx="131">
                  <c:v>202.90331541428571</c:v>
                </c:pt>
                <c:pt idx="132">
                  <c:v>200.73423129999998</c:v>
                </c:pt>
                <c:pt idx="133">
                  <c:v>199.02258364285711</c:v>
                </c:pt>
                <c:pt idx="134">
                  <c:v>198.65729901428571</c:v>
                </c:pt>
                <c:pt idx="135">
                  <c:v>199.89437642857143</c:v>
                </c:pt>
                <c:pt idx="136">
                  <c:v>202.46897277142855</c:v>
                </c:pt>
                <c:pt idx="137">
                  <c:v>206.52940801428571</c:v>
                </c:pt>
                <c:pt idx="138">
                  <c:v>211.96115342857141</c:v>
                </c:pt>
                <c:pt idx="139">
                  <c:v>217.77393607142855</c:v>
                </c:pt>
                <c:pt idx="140">
                  <c:v>223.01344818571428</c:v>
                </c:pt>
                <c:pt idx="141">
                  <c:v>227.18482975714292</c:v>
                </c:pt>
                <c:pt idx="142">
                  <c:v>230.12288399999997</c:v>
                </c:pt>
                <c:pt idx="143">
                  <c:v>232.71665589999998</c:v>
                </c:pt>
                <c:pt idx="144">
                  <c:v>234.20951179999997</c:v>
                </c:pt>
                <c:pt idx="145">
                  <c:v>234.70671409999997</c:v>
                </c:pt>
                <c:pt idx="146">
                  <c:v>234.57998158571428</c:v>
                </c:pt>
                <c:pt idx="147">
                  <c:v>234.23349335714283</c:v>
                </c:pt>
                <c:pt idx="148">
                  <c:v>233.36618255714285</c:v>
                </c:pt>
                <c:pt idx="149">
                  <c:v>232.56370537142857</c:v>
                </c:pt>
                <c:pt idx="150">
                  <c:v>232.0554648142857</c:v>
                </c:pt>
                <c:pt idx="151">
                  <c:v>232.1095215</c:v>
                </c:pt>
                <c:pt idx="152">
                  <c:v>232.70647634285714</c:v>
                </c:pt>
                <c:pt idx="153">
                  <c:v>233.77052322857142</c:v>
                </c:pt>
                <c:pt idx="154">
                  <c:v>235.10613071428574</c:v>
                </c:pt>
                <c:pt idx="155">
                  <c:v>236.55849300000003</c:v>
                </c:pt>
                <c:pt idx="156">
                  <c:v>237.77619622857145</c:v>
                </c:pt>
                <c:pt idx="157">
                  <c:v>238.12624812857143</c:v>
                </c:pt>
                <c:pt idx="158">
                  <c:v>238.34151440000002</c:v>
                </c:pt>
                <c:pt idx="159">
                  <c:v>238.53928042857143</c:v>
                </c:pt>
                <c:pt idx="160">
                  <c:v>238.05408705714288</c:v>
                </c:pt>
                <c:pt idx="161">
                  <c:v>236.34192231428571</c:v>
                </c:pt>
                <c:pt idx="162">
                  <c:v>233.6191746142857</c:v>
                </c:pt>
                <c:pt idx="163">
                  <c:v>230.07281837142858</c:v>
                </c:pt>
                <c:pt idx="164">
                  <c:v>225.60368448571427</c:v>
                </c:pt>
                <c:pt idx="165">
                  <c:v>219.67985611428574</c:v>
                </c:pt>
                <c:pt idx="166">
                  <c:v>212.00622244285719</c:v>
                </c:pt>
                <c:pt idx="167">
                  <c:v>203.8440191</c:v>
                </c:pt>
                <c:pt idx="168">
                  <c:v>197.91554658571428</c:v>
                </c:pt>
                <c:pt idx="169">
                  <c:v>195.45816957142856</c:v>
                </c:pt>
                <c:pt idx="170">
                  <c:v>196.52061687142856</c:v>
                </c:pt>
                <c:pt idx="171">
                  <c:v>201.2399591428572</c:v>
                </c:pt>
                <c:pt idx="172">
                  <c:v>209.76612098571428</c:v>
                </c:pt>
                <c:pt idx="173">
                  <c:v>222.97529284285716</c:v>
                </c:pt>
                <c:pt idx="174">
                  <c:v>239.37443192857145</c:v>
                </c:pt>
                <c:pt idx="175">
                  <c:v>256.13121822857147</c:v>
                </c:pt>
                <c:pt idx="176">
                  <c:v>271.84190062857147</c:v>
                </c:pt>
                <c:pt idx="177">
                  <c:v>285.96978857142858</c:v>
                </c:pt>
                <c:pt idx="178">
                  <c:v>299.38849240000002</c:v>
                </c:pt>
                <c:pt idx="179">
                  <c:v>312.4606510142857</c:v>
                </c:pt>
                <c:pt idx="180">
                  <c:v>324.02454375714285</c:v>
                </c:pt>
                <c:pt idx="181">
                  <c:v>333.84738394285711</c:v>
                </c:pt>
                <c:pt idx="182">
                  <c:v>341.52828371428575</c:v>
                </c:pt>
                <c:pt idx="183">
                  <c:v>348.48394894285713</c:v>
                </c:pt>
                <c:pt idx="184">
                  <c:v>356.48677961428569</c:v>
                </c:pt>
                <c:pt idx="185">
                  <c:v>365.49893468571429</c:v>
                </c:pt>
                <c:pt idx="186">
                  <c:v>376.9760175714286</c:v>
                </c:pt>
                <c:pt idx="187">
                  <c:v>391.64689292857139</c:v>
                </c:pt>
                <c:pt idx="188">
                  <c:v>406.80550748571426</c:v>
                </c:pt>
                <c:pt idx="189">
                  <c:v>421.49760408571422</c:v>
                </c:pt>
                <c:pt idx="190">
                  <c:v>433.4429131</c:v>
                </c:pt>
                <c:pt idx="191">
                  <c:v>441.1556830714286</c:v>
                </c:pt>
                <c:pt idx="192">
                  <c:v>444.49325670000002</c:v>
                </c:pt>
                <c:pt idx="193">
                  <c:v>443.71540060000001</c:v>
                </c:pt>
                <c:pt idx="194">
                  <c:v>438.65431815714288</c:v>
                </c:pt>
                <c:pt idx="195">
                  <c:v>431.46230631428574</c:v>
                </c:pt>
                <c:pt idx="196">
                  <c:v>423.20597632857147</c:v>
                </c:pt>
                <c:pt idx="197">
                  <c:v>414.52694269999995</c:v>
                </c:pt>
                <c:pt idx="198">
                  <c:v>405.13903091428568</c:v>
                </c:pt>
                <c:pt idx="199">
                  <c:v>395.1529711428571</c:v>
                </c:pt>
                <c:pt idx="200">
                  <c:v>382.54508012857144</c:v>
                </c:pt>
                <c:pt idx="201">
                  <c:v>367.28643085714288</c:v>
                </c:pt>
                <c:pt idx="202">
                  <c:v>353.02884519999998</c:v>
                </c:pt>
                <c:pt idx="203">
                  <c:v>342.08551529999994</c:v>
                </c:pt>
                <c:pt idx="204">
                  <c:v>335.19752039999997</c:v>
                </c:pt>
                <c:pt idx="205">
                  <c:v>332.83817495714277</c:v>
                </c:pt>
                <c:pt idx="206">
                  <c:v>334.15287907142857</c:v>
                </c:pt>
                <c:pt idx="207">
                  <c:v>336.9645339857143</c:v>
                </c:pt>
                <c:pt idx="208">
                  <c:v>340.96551971428568</c:v>
                </c:pt>
                <c:pt idx="209">
                  <c:v>345.24272189999999</c:v>
                </c:pt>
                <c:pt idx="210">
                  <c:v>350.62147678571426</c:v>
                </c:pt>
                <c:pt idx="211">
                  <c:v>355.3523850285714</c:v>
                </c:pt>
                <c:pt idx="212">
                  <c:v>357.67785099999992</c:v>
                </c:pt>
                <c:pt idx="213">
                  <c:v>357.60026041428574</c:v>
                </c:pt>
                <c:pt idx="214">
                  <c:v>358.07067334285722</c:v>
                </c:pt>
                <c:pt idx="215">
                  <c:v>359.40188844285711</c:v>
                </c:pt>
                <c:pt idx="216">
                  <c:v>359.42884007142857</c:v>
                </c:pt>
                <c:pt idx="217">
                  <c:v>355.16608777142858</c:v>
                </c:pt>
                <c:pt idx="218">
                  <c:v>348.47791478571429</c:v>
                </c:pt>
                <c:pt idx="219">
                  <c:v>341.88943231428567</c:v>
                </c:pt>
                <c:pt idx="220">
                  <c:v>335.33718004285714</c:v>
                </c:pt>
                <c:pt idx="221">
                  <c:v>328.56573247142859</c:v>
                </c:pt>
                <c:pt idx="222">
                  <c:v>321.65247965714286</c:v>
                </c:pt>
                <c:pt idx="223">
                  <c:v>314.94765385714288</c:v>
                </c:pt>
                <c:pt idx="224">
                  <c:v>309.97087368571431</c:v>
                </c:pt>
                <c:pt idx="225">
                  <c:v>307.29589967142863</c:v>
                </c:pt>
                <c:pt idx="226">
                  <c:v>306.76700234285715</c:v>
                </c:pt>
                <c:pt idx="227">
                  <c:v>310.12215562857142</c:v>
                </c:pt>
                <c:pt idx="228">
                  <c:v>317.49637668571432</c:v>
                </c:pt>
                <c:pt idx="229">
                  <c:v>328.58779275714284</c:v>
                </c:pt>
                <c:pt idx="230">
                  <c:v>344.28694000000002</c:v>
                </c:pt>
                <c:pt idx="231">
                  <c:v>364.28756702857146</c:v>
                </c:pt>
                <c:pt idx="232">
                  <c:v>387.02576928571432</c:v>
                </c:pt>
                <c:pt idx="233">
                  <c:v>410.57939622857145</c:v>
                </c:pt>
                <c:pt idx="234">
                  <c:v>432.54254800000001</c:v>
                </c:pt>
                <c:pt idx="235">
                  <c:v>451.7947145857143</c:v>
                </c:pt>
                <c:pt idx="236">
                  <c:v>468.57174832857146</c:v>
                </c:pt>
                <c:pt idx="237">
                  <c:v>481.51466895714287</c:v>
                </c:pt>
                <c:pt idx="238">
                  <c:v>489.0160259428572</c:v>
                </c:pt>
                <c:pt idx="239">
                  <c:v>491.05633875714284</c:v>
                </c:pt>
                <c:pt idx="240">
                  <c:v>488.82832075714288</c:v>
                </c:pt>
                <c:pt idx="241">
                  <c:v>483.1357721</c:v>
                </c:pt>
                <c:pt idx="242">
                  <c:v>474.58467359999997</c:v>
                </c:pt>
                <c:pt idx="243">
                  <c:v>464.77632741428567</c:v>
                </c:pt>
                <c:pt idx="244">
                  <c:v>454.57093337142851</c:v>
                </c:pt>
                <c:pt idx="245">
                  <c:v>445.07490961428567</c:v>
                </c:pt>
                <c:pt idx="246">
                  <c:v>436.84853982857152</c:v>
                </c:pt>
                <c:pt idx="247">
                  <c:v>429.1448036428572</c:v>
                </c:pt>
                <c:pt idx="248">
                  <c:v>421.75085117142856</c:v>
                </c:pt>
                <c:pt idx="249">
                  <c:v>411.41278241428569</c:v>
                </c:pt>
                <c:pt idx="250">
                  <c:v>395.06392060000002</c:v>
                </c:pt>
                <c:pt idx="251">
                  <c:v>373.03550191428576</c:v>
                </c:pt>
                <c:pt idx="252">
                  <c:v>345.77946304285717</c:v>
                </c:pt>
                <c:pt idx="253">
                  <c:v>314.09639011428573</c:v>
                </c:pt>
                <c:pt idx="254">
                  <c:v>281.4720620857143</c:v>
                </c:pt>
                <c:pt idx="255">
                  <c:v>251.08512475714284</c:v>
                </c:pt>
                <c:pt idx="256">
                  <c:v>227.77504344285714</c:v>
                </c:pt>
                <c:pt idx="257">
                  <c:v>214.15117528571432</c:v>
                </c:pt>
                <c:pt idx="258">
                  <c:v>211.74181045714289</c:v>
                </c:pt>
                <c:pt idx="259">
                  <c:v>221.35272804285711</c:v>
                </c:pt>
                <c:pt idx="260">
                  <c:v>243.06458005714285</c:v>
                </c:pt>
                <c:pt idx="261">
                  <c:v>274.63888198571431</c:v>
                </c:pt>
                <c:pt idx="262">
                  <c:v>314.65864721428568</c:v>
                </c:pt>
                <c:pt idx="263">
                  <c:v>362.75306607142858</c:v>
                </c:pt>
                <c:pt idx="264">
                  <c:v>414.49244475714283</c:v>
                </c:pt>
                <c:pt idx="265">
                  <c:v>465.55177592857137</c:v>
                </c:pt>
                <c:pt idx="266">
                  <c:v>513.50551380000002</c:v>
                </c:pt>
                <c:pt idx="267">
                  <c:v>556.53253518571432</c:v>
                </c:pt>
                <c:pt idx="268">
                  <c:v>593.60343390000003</c:v>
                </c:pt>
                <c:pt idx="269">
                  <c:v>622.32219414285714</c:v>
                </c:pt>
                <c:pt idx="270">
                  <c:v>642.3844409714286</c:v>
                </c:pt>
                <c:pt idx="271">
                  <c:v>658.41443660000004</c:v>
                </c:pt>
                <c:pt idx="272">
                  <c:v>670.77104917142867</c:v>
                </c:pt>
                <c:pt idx="273">
                  <c:v>678.74799744285713</c:v>
                </c:pt>
                <c:pt idx="274">
                  <c:v>682.99834938571439</c:v>
                </c:pt>
                <c:pt idx="275">
                  <c:v>681.60261651428573</c:v>
                </c:pt>
                <c:pt idx="276">
                  <c:v>672.27714667142857</c:v>
                </c:pt>
                <c:pt idx="277">
                  <c:v>651.97254918571434</c:v>
                </c:pt>
                <c:pt idx="278">
                  <c:v>619.84416758571444</c:v>
                </c:pt>
                <c:pt idx="279">
                  <c:v>578.20201411428582</c:v>
                </c:pt>
                <c:pt idx="280">
                  <c:v>529.06038234285722</c:v>
                </c:pt>
                <c:pt idx="281">
                  <c:v>473.68010398571431</c:v>
                </c:pt>
                <c:pt idx="282">
                  <c:v>415.18349727142856</c:v>
                </c:pt>
                <c:pt idx="283">
                  <c:v>357.69459458571424</c:v>
                </c:pt>
                <c:pt idx="284">
                  <c:v>303.53510684285715</c:v>
                </c:pt>
                <c:pt idx="285">
                  <c:v>252.48344521428572</c:v>
                </c:pt>
                <c:pt idx="286">
                  <c:v>206.0865862</c:v>
                </c:pt>
                <c:pt idx="287">
                  <c:v>165.16778927142857</c:v>
                </c:pt>
                <c:pt idx="288">
                  <c:v>129.60865565714286</c:v>
                </c:pt>
                <c:pt idx="289">
                  <c:v>99.720145514285718</c:v>
                </c:pt>
                <c:pt idx="290">
                  <c:v>74.954665442857134</c:v>
                </c:pt>
                <c:pt idx="291">
                  <c:v>55.41956855714286</c:v>
                </c:pt>
                <c:pt idx="292">
                  <c:v>40.500671385714284</c:v>
                </c:pt>
                <c:pt idx="293">
                  <c:v>29.092926114285717</c:v>
                </c:pt>
                <c:pt idx="294">
                  <c:v>20.726569871428573</c:v>
                </c:pt>
                <c:pt idx="295">
                  <c:v>14.806128285714285</c:v>
                </c:pt>
                <c:pt idx="296">
                  <c:v>10.34362052857143</c:v>
                </c:pt>
                <c:pt idx="297">
                  <c:v>7.133813442857142</c:v>
                </c:pt>
                <c:pt idx="298">
                  <c:v>4.6513949857142851</c:v>
                </c:pt>
                <c:pt idx="299">
                  <c:v>3.0009833428571424</c:v>
                </c:pt>
                <c:pt idx="300">
                  <c:v>1.8164495428571428</c:v>
                </c:pt>
                <c:pt idx="301">
                  <c:v>0.92412651428571435</c:v>
                </c:pt>
                <c:pt idx="302">
                  <c:v>0.38531310000000002</c:v>
                </c:pt>
                <c:pt idx="303">
                  <c:v>0.17214884285714288</c:v>
                </c:pt>
                <c:pt idx="304">
                  <c:v>7.8748814285714272E-2</c:v>
                </c:pt>
                <c:pt idx="305">
                  <c:v>2.604827142857143E-2</c:v>
                </c:pt>
                <c:pt idx="306">
                  <c:v>2.7432857142857146E-3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.59151071428571433</c:v>
                </c:pt>
                <c:pt idx="393">
                  <c:v>1.9308881714285715</c:v>
                </c:pt>
                <c:pt idx="394">
                  <c:v>3.9726364857142857</c:v>
                </c:pt>
                <c:pt idx="395">
                  <c:v>6.5891125857142852</c:v>
                </c:pt>
                <c:pt idx="396">
                  <c:v>9.9977114999999994</c:v>
                </c:pt>
                <c:pt idx="397">
                  <c:v>14.327179285714285</c:v>
                </c:pt>
                <c:pt idx="398">
                  <c:v>19.7206136</c:v>
                </c:pt>
                <c:pt idx="399">
                  <c:v>25.480206042857144</c:v>
                </c:pt>
                <c:pt idx="400">
                  <c:v>31.307409871428572</c:v>
                </c:pt>
                <c:pt idx="401">
                  <c:v>37.228421285714283</c:v>
                </c:pt>
                <c:pt idx="402">
                  <c:v>43.522839900000001</c:v>
                </c:pt>
                <c:pt idx="403">
                  <c:v>49.864571385714285</c:v>
                </c:pt>
                <c:pt idx="404">
                  <c:v>56.059024185714286</c:v>
                </c:pt>
                <c:pt idx="405">
                  <c:v>61.881960785714277</c:v>
                </c:pt>
                <c:pt idx="406">
                  <c:v>67.187761699999996</c:v>
                </c:pt>
                <c:pt idx="407">
                  <c:v>72.052868228571427</c:v>
                </c:pt>
                <c:pt idx="408">
                  <c:v>76.421730571428569</c:v>
                </c:pt>
                <c:pt idx="409">
                  <c:v>79.947909385714283</c:v>
                </c:pt>
                <c:pt idx="410">
                  <c:v>82.326454942857154</c:v>
                </c:pt>
                <c:pt idx="411">
                  <c:v>83.605783128571446</c:v>
                </c:pt>
                <c:pt idx="412">
                  <c:v>84.713185657142859</c:v>
                </c:pt>
                <c:pt idx="413">
                  <c:v>86.54986270000002</c:v>
                </c:pt>
                <c:pt idx="414">
                  <c:v>89.452006985714291</c:v>
                </c:pt>
                <c:pt idx="415">
                  <c:v>93.661388157142838</c:v>
                </c:pt>
                <c:pt idx="416">
                  <c:v>99.32030865714286</c:v>
                </c:pt>
                <c:pt idx="417">
                  <c:v>106.317869</c:v>
                </c:pt>
                <c:pt idx="418">
                  <c:v>114.48606537142858</c:v>
                </c:pt>
                <c:pt idx="419">
                  <c:v>123.39685014285715</c:v>
                </c:pt>
                <c:pt idx="420">
                  <c:v>132.34395961428572</c:v>
                </c:pt>
                <c:pt idx="421">
                  <c:v>141.01015369999999</c:v>
                </c:pt>
                <c:pt idx="422">
                  <c:v>148.75835707142855</c:v>
                </c:pt>
                <c:pt idx="423">
                  <c:v>155.31958374285713</c:v>
                </c:pt>
                <c:pt idx="424">
                  <c:v>160.83335202857143</c:v>
                </c:pt>
                <c:pt idx="425">
                  <c:v>166.00412755714288</c:v>
                </c:pt>
                <c:pt idx="426">
                  <c:v>171.12870384285716</c:v>
                </c:pt>
                <c:pt idx="427">
                  <c:v>176.75905675714287</c:v>
                </c:pt>
                <c:pt idx="428">
                  <c:v>182.67814084285715</c:v>
                </c:pt>
                <c:pt idx="429">
                  <c:v>188.87539612857145</c:v>
                </c:pt>
                <c:pt idx="430">
                  <c:v>195.15530202857141</c:v>
                </c:pt>
                <c:pt idx="431">
                  <c:v>201.68586095714286</c:v>
                </c:pt>
                <c:pt idx="432">
                  <c:v>207.5718842857143</c:v>
                </c:pt>
                <c:pt idx="433">
                  <c:v>212.04521969999996</c:v>
                </c:pt>
                <c:pt idx="434">
                  <c:v>213.71523584285714</c:v>
                </c:pt>
                <c:pt idx="435">
                  <c:v>212.49083775714286</c:v>
                </c:pt>
                <c:pt idx="436">
                  <c:v>208.7817992857143</c:v>
                </c:pt>
                <c:pt idx="437">
                  <c:v>202.96982895714285</c:v>
                </c:pt>
                <c:pt idx="438">
                  <c:v>195.19121252857144</c:v>
                </c:pt>
                <c:pt idx="439">
                  <c:v>185.82476192857143</c:v>
                </c:pt>
                <c:pt idx="440">
                  <c:v>175.00756411428574</c:v>
                </c:pt>
                <c:pt idx="441">
                  <c:v>163.73238579999997</c:v>
                </c:pt>
                <c:pt idx="442">
                  <c:v>152.54333587142855</c:v>
                </c:pt>
                <c:pt idx="443">
                  <c:v>141.53638117142856</c:v>
                </c:pt>
                <c:pt idx="444">
                  <c:v>130.94275778571429</c:v>
                </c:pt>
                <c:pt idx="445">
                  <c:v>121.03413695714286</c:v>
                </c:pt>
                <c:pt idx="446">
                  <c:v>111.94563828571427</c:v>
                </c:pt>
                <c:pt idx="447">
                  <c:v>103.69862811428571</c:v>
                </c:pt>
                <c:pt idx="448">
                  <c:v>97.379161500000009</c:v>
                </c:pt>
                <c:pt idx="449">
                  <c:v>93.083571742857131</c:v>
                </c:pt>
                <c:pt idx="450">
                  <c:v>90.971906714285723</c:v>
                </c:pt>
                <c:pt idx="451">
                  <c:v>91.32627705714286</c:v>
                </c:pt>
                <c:pt idx="452">
                  <c:v>93.871050257142869</c:v>
                </c:pt>
                <c:pt idx="453">
                  <c:v>98.449753157142851</c:v>
                </c:pt>
                <c:pt idx="454">
                  <c:v>104.93853222857145</c:v>
                </c:pt>
                <c:pt idx="455">
                  <c:v>111.95701552857145</c:v>
                </c:pt>
                <c:pt idx="456">
                  <c:v>119.06429144285714</c:v>
                </c:pt>
                <c:pt idx="457">
                  <c:v>126.38763357142857</c:v>
                </c:pt>
                <c:pt idx="458">
                  <c:v>133.82362734285715</c:v>
                </c:pt>
                <c:pt idx="459">
                  <c:v>140.92286197142857</c:v>
                </c:pt>
                <c:pt idx="460">
                  <c:v>147.4969677</c:v>
                </c:pt>
                <c:pt idx="461">
                  <c:v>155.26936084285714</c:v>
                </c:pt>
                <c:pt idx="462">
                  <c:v>164.54079949999999</c:v>
                </c:pt>
                <c:pt idx="463">
                  <c:v>175.12692268571428</c:v>
                </c:pt>
                <c:pt idx="464">
                  <c:v>187.67457352857144</c:v>
                </c:pt>
                <c:pt idx="465">
                  <c:v>203.46492598571427</c:v>
                </c:pt>
                <c:pt idx="466">
                  <c:v>221.19222627142855</c:v>
                </c:pt>
                <c:pt idx="467">
                  <c:v>241.27945562857144</c:v>
                </c:pt>
                <c:pt idx="468">
                  <c:v>263.3185999142857</c:v>
                </c:pt>
                <c:pt idx="469">
                  <c:v>286.29399832857143</c:v>
                </c:pt>
                <c:pt idx="470">
                  <c:v>310.12361414285715</c:v>
                </c:pt>
                <c:pt idx="471">
                  <c:v>332.01886718571433</c:v>
                </c:pt>
                <c:pt idx="472">
                  <c:v>349.63970134285717</c:v>
                </c:pt>
                <c:pt idx="473">
                  <c:v>367.70001075714288</c:v>
                </c:pt>
                <c:pt idx="474">
                  <c:v>385.67477194285715</c:v>
                </c:pt>
                <c:pt idx="475">
                  <c:v>401.93729209999998</c:v>
                </c:pt>
                <c:pt idx="476">
                  <c:v>416.36913018571431</c:v>
                </c:pt>
                <c:pt idx="477">
                  <c:v>427.38407201428572</c:v>
                </c:pt>
                <c:pt idx="478">
                  <c:v>436.29006757142861</c:v>
                </c:pt>
                <c:pt idx="479">
                  <c:v>444.09235219999999</c:v>
                </c:pt>
                <c:pt idx="480">
                  <c:v>451.76493532857148</c:v>
                </c:pt>
                <c:pt idx="481">
                  <c:v>461.32690875714292</c:v>
                </c:pt>
                <c:pt idx="482">
                  <c:v>473.54164685714289</c:v>
                </c:pt>
                <c:pt idx="483">
                  <c:v>487.05871539999998</c:v>
                </c:pt>
                <c:pt idx="484">
                  <c:v>500.88850717142856</c:v>
                </c:pt>
                <c:pt idx="485">
                  <c:v>515.7818458142857</c:v>
                </c:pt>
                <c:pt idx="486">
                  <c:v>529.98757120000005</c:v>
                </c:pt>
                <c:pt idx="487">
                  <c:v>539.78678434285723</c:v>
                </c:pt>
                <c:pt idx="488">
                  <c:v>545.23423715714284</c:v>
                </c:pt>
                <c:pt idx="489">
                  <c:v>546.17066904285707</c:v>
                </c:pt>
                <c:pt idx="490">
                  <c:v>545.75495097142857</c:v>
                </c:pt>
                <c:pt idx="491">
                  <c:v>545.07717931428567</c:v>
                </c:pt>
                <c:pt idx="492">
                  <c:v>542.06663672857144</c:v>
                </c:pt>
                <c:pt idx="493">
                  <c:v>537.92276721428573</c:v>
                </c:pt>
                <c:pt idx="494">
                  <c:v>532.69291447142859</c:v>
                </c:pt>
                <c:pt idx="495">
                  <c:v>525.70719461428575</c:v>
                </c:pt>
                <c:pt idx="496">
                  <c:v>517.47632508571428</c:v>
                </c:pt>
                <c:pt idx="497">
                  <c:v>508.21446997142857</c:v>
                </c:pt>
                <c:pt idx="498">
                  <c:v>499.62942070000008</c:v>
                </c:pt>
                <c:pt idx="499">
                  <c:v>492.12245662857146</c:v>
                </c:pt>
                <c:pt idx="500">
                  <c:v>486.83032711428575</c:v>
                </c:pt>
                <c:pt idx="501">
                  <c:v>483.35020018571424</c:v>
                </c:pt>
                <c:pt idx="502">
                  <c:v>481.56632144285715</c:v>
                </c:pt>
                <c:pt idx="503">
                  <c:v>480.64643172857137</c:v>
                </c:pt>
                <c:pt idx="504">
                  <c:v>478.80035688571428</c:v>
                </c:pt>
                <c:pt idx="505">
                  <c:v>475.67635924285707</c:v>
                </c:pt>
                <c:pt idx="506">
                  <c:v>471.79452141428567</c:v>
                </c:pt>
                <c:pt idx="507">
                  <c:v>466.27695141428575</c:v>
                </c:pt>
                <c:pt idx="508">
                  <c:v>458.2882262857143</c:v>
                </c:pt>
                <c:pt idx="509">
                  <c:v>449.19840468571431</c:v>
                </c:pt>
                <c:pt idx="510">
                  <c:v>440.33436031428573</c:v>
                </c:pt>
                <c:pt idx="511">
                  <c:v>431.88302634285714</c:v>
                </c:pt>
                <c:pt idx="512">
                  <c:v>422.31332989999999</c:v>
                </c:pt>
                <c:pt idx="513">
                  <c:v>410.81571808571425</c:v>
                </c:pt>
                <c:pt idx="514">
                  <c:v>395.5142059142857</c:v>
                </c:pt>
                <c:pt idx="515">
                  <c:v>376.91420174285713</c:v>
                </c:pt>
                <c:pt idx="516">
                  <c:v>352.54762639999996</c:v>
                </c:pt>
                <c:pt idx="517">
                  <c:v>321.78921767142856</c:v>
                </c:pt>
                <c:pt idx="518">
                  <c:v>286.21168541428568</c:v>
                </c:pt>
                <c:pt idx="519">
                  <c:v>248.86342847142856</c:v>
                </c:pt>
                <c:pt idx="520">
                  <c:v>212.1500008714286</c:v>
                </c:pt>
                <c:pt idx="521">
                  <c:v>178.40411684285715</c:v>
                </c:pt>
                <c:pt idx="522">
                  <c:v>148.94376372857141</c:v>
                </c:pt>
                <c:pt idx="523">
                  <c:v>123.71518640000001</c:v>
                </c:pt>
                <c:pt idx="524">
                  <c:v>102.46312580000001</c:v>
                </c:pt>
                <c:pt idx="525">
                  <c:v>84.736087942857139</c:v>
                </c:pt>
                <c:pt idx="526">
                  <c:v>70.14553481428571</c:v>
                </c:pt>
                <c:pt idx="527">
                  <c:v>58.312715914285711</c:v>
                </c:pt>
                <c:pt idx="528">
                  <c:v>49.110313085714274</c:v>
                </c:pt>
                <c:pt idx="529">
                  <c:v>41.800228585714294</c:v>
                </c:pt>
                <c:pt idx="530">
                  <c:v>36.558472285714288</c:v>
                </c:pt>
                <c:pt idx="531">
                  <c:v>33.020125342857142</c:v>
                </c:pt>
                <c:pt idx="532">
                  <c:v>30.659601014285709</c:v>
                </c:pt>
                <c:pt idx="533">
                  <c:v>28.966905271428573</c:v>
                </c:pt>
                <c:pt idx="534">
                  <c:v>27.752668700000005</c:v>
                </c:pt>
                <c:pt idx="535">
                  <c:v>26.846367399999998</c:v>
                </c:pt>
                <c:pt idx="536">
                  <c:v>26.271640428571427</c:v>
                </c:pt>
                <c:pt idx="537">
                  <c:v>26.027773028571428</c:v>
                </c:pt>
                <c:pt idx="538">
                  <c:v>26.148475142857144</c:v>
                </c:pt>
                <c:pt idx="539">
                  <c:v>26.676741157142857</c:v>
                </c:pt>
                <c:pt idx="540">
                  <c:v>27.540040771428568</c:v>
                </c:pt>
                <c:pt idx="541">
                  <c:v>28.612832371428571</c:v>
                </c:pt>
                <c:pt idx="542">
                  <c:v>29.801519242857143</c:v>
                </c:pt>
                <c:pt idx="543">
                  <c:v>31.045531014285718</c:v>
                </c:pt>
                <c:pt idx="544">
                  <c:v>32.302325199999999</c:v>
                </c:pt>
                <c:pt idx="545">
                  <c:v>34.027435457142857</c:v>
                </c:pt>
                <c:pt idx="546">
                  <c:v>36.323085857142857</c:v>
                </c:pt>
                <c:pt idx="547">
                  <c:v>39.300315328571436</c:v>
                </c:pt>
                <c:pt idx="548">
                  <c:v>42.963624271428571</c:v>
                </c:pt>
                <c:pt idx="549">
                  <c:v>47.479329500000006</c:v>
                </c:pt>
                <c:pt idx="550">
                  <c:v>52.856220671428567</c:v>
                </c:pt>
                <c:pt idx="551">
                  <c:v>59.010032257142861</c:v>
                </c:pt>
                <c:pt idx="552">
                  <c:v>65.336703142857132</c:v>
                </c:pt>
                <c:pt idx="553">
                  <c:v>71.87423179999999</c:v>
                </c:pt>
                <c:pt idx="554">
                  <c:v>78.506203214285705</c:v>
                </c:pt>
                <c:pt idx="555">
                  <c:v>85.164447628571423</c:v>
                </c:pt>
                <c:pt idx="556">
                  <c:v>91.608054599999988</c:v>
                </c:pt>
                <c:pt idx="557">
                  <c:v>97.853439914285715</c:v>
                </c:pt>
                <c:pt idx="558">
                  <c:v>104.0480460142857</c:v>
                </c:pt>
                <c:pt idx="559">
                  <c:v>109.65635208571427</c:v>
                </c:pt>
                <c:pt idx="560">
                  <c:v>114.72115642857143</c:v>
                </c:pt>
                <c:pt idx="561">
                  <c:v>119.0235473</c:v>
                </c:pt>
                <c:pt idx="562">
                  <c:v>122.7876354</c:v>
                </c:pt>
                <c:pt idx="563">
                  <c:v>126.56700514285714</c:v>
                </c:pt>
                <c:pt idx="564">
                  <c:v>131.63087762857143</c:v>
                </c:pt>
                <c:pt idx="565">
                  <c:v>138.26583237142856</c:v>
                </c:pt>
                <c:pt idx="566">
                  <c:v>146.21269685714282</c:v>
                </c:pt>
                <c:pt idx="567">
                  <c:v>154.43556754285714</c:v>
                </c:pt>
                <c:pt idx="568">
                  <c:v>162.4236912142857</c:v>
                </c:pt>
                <c:pt idx="569">
                  <c:v>169.75113212857144</c:v>
                </c:pt>
                <c:pt idx="570">
                  <c:v>176.38459257142856</c:v>
                </c:pt>
                <c:pt idx="571">
                  <c:v>181.1954755714286</c:v>
                </c:pt>
                <c:pt idx="572">
                  <c:v>183.20131428571429</c:v>
                </c:pt>
                <c:pt idx="573">
                  <c:v>182.56665274285712</c:v>
                </c:pt>
                <c:pt idx="574">
                  <c:v>179.80558774285714</c:v>
                </c:pt>
                <c:pt idx="575">
                  <c:v>175.83294601428574</c:v>
                </c:pt>
                <c:pt idx="576">
                  <c:v>171.05432437142858</c:v>
                </c:pt>
                <c:pt idx="577">
                  <c:v>165.10638280000003</c:v>
                </c:pt>
                <c:pt idx="578">
                  <c:v>157.98516752857145</c:v>
                </c:pt>
                <c:pt idx="579">
                  <c:v>150.48176877142856</c:v>
                </c:pt>
                <c:pt idx="580">
                  <c:v>142.63653702857144</c:v>
                </c:pt>
                <c:pt idx="581">
                  <c:v>134.40541558571428</c:v>
                </c:pt>
                <c:pt idx="582">
                  <c:v>125.5603406</c:v>
                </c:pt>
                <c:pt idx="583">
                  <c:v>116.01817658571429</c:v>
                </c:pt>
                <c:pt idx="584">
                  <c:v>105.72378248571428</c:v>
                </c:pt>
                <c:pt idx="585">
                  <c:v>94.778558471428582</c:v>
                </c:pt>
                <c:pt idx="586">
                  <c:v>83.44750325714287</c:v>
                </c:pt>
                <c:pt idx="587">
                  <c:v>72.677245071428572</c:v>
                </c:pt>
                <c:pt idx="588">
                  <c:v>62.912043400000002</c:v>
                </c:pt>
                <c:pt idx="589">
                  <c:v>54.305998542857147</c:v>
                </c:pt>
                <c:pt idx="590">
                  <c:v>46.936209885714284</c:v>
                </c:pt>
                <c:pt idx="591">
                  <c:v>40.896947971428574</c:v>
                </c:pt>
                <c:pt idx="592">
                  <c:v>35.978855314285717</c:v>
                </c:pt>
                <c:pt idx="593">
                  <c:v>31.942939514285712</c:v>
                </c:pt>
                <c:pt idx="594">
                  <c:v>28.780915071428574</c:v>
                </c:pt>
                <c:pt idx="595">
                  <c:v>26.401184042857146</c:v>
                </c:pt>
                <c:pt idx="596">
                  <c:v>24.698784042857142</c:v>
                </c:pt>
                <c:pt idx="597">
                  <c:v>23.537708442857141</c:v>
                </c:pt>
                <c:pt idx="598">
                  <c:v>22.816343657142856</c:v>
                </c:pt>
                <c:pt idx="599">
                  <c:v>22.51285797142857</c:v>
                </c:pt>
                <c:pt idx="600">
                  <c:v>22.476127542857146</c:v>
                </c:pt>
                <c:pt idx="601">
                  <c:v>22.448180871428569</c:v>
                </c:pt>
                <c:pt idx="602">
                  <c:v>22.427721971428575</c:v>
                </c:pt>
                <c:pt idx="603">
                  <c:v>22.417469900000004</c:v>
                </c:pt>
                <c:pt idx="604">
                  <c:v>23.054903142857142</c:v>
                </c:pt>
                <c:pt idx="605">
                  <c:v>24.465019742857145</c:v>
                </c:pt>
                <c:pt idx="606">
                  <c:v>26.615512557142857</c:v>
                </c:pt>
                <c:pt idx="607">
                  <c:v>29.539802014285716</c:v>
                </c:pt>
                <c:pt idx="608">
                  <c:v>33.058975557142851</c:v>
                </c:pt>
                <c:pt idx="609">
                  <c:v>37.198498685714284</c:v>
                </c:pt>
                <c:pt idx="610">
                  <c:v>41.927959785714286</c:v>
                </c:pt>
                <c:pt idx="611">
                  <c:v>46.419450728571427</c:v>
                </c:pt>
                <c:pt idx="612">
                  <c:v>50.183841928571432</c:v>
                </c:pt>
                <c:pt idx="613">
                  <c:v>53.230346828571435</c:v>
                </c:pt>
                <c:pt idx="614">
                  <c:v>55.656081214285713</c:v>
                </c:pt>
                <c:pt idx="615">
                  <c:v>57.455614785714282</c:v>
                </c:pt>
                <c:pt idx="616">
                  <c:v>58.665792599999996</c:v>
                </c:pt>
                <c:pt idx="617">
                  <c:v>59.423949442857136</c:v>
                </c:pt>
                <c:pt idx="618">
                  <c:v>59.839767699999989</c:v>
                </c:pt>
                <c:pt idx="619">
                  <c:v>60.705611814285717</c:v>
                </c:pt>
                <c:pt idx="620">
                  <c:v>61.967365971428571</c:v>
                </c:pt>
                <c:pt idx="621">
                  <c:v>63.435462085714278</c:v>
                </c:pt>
                <c:pt idx="622">
                  <c:v>65.116061171428569</c:v>
                </c:pt>
                <c:pt idx="623">
                  <c:v>66.828657699999994</c:v>
                </c:pt>
                <c:pt idx="624">
                  <c:v>68.311771828571437</c:v>
                </c:pt>
                <c:pt idx="625">
                  <c:v>69.611470757142868</c:v>
                </c:pt>
                <c:pt idx="626">
                  <c:v>70.239732342857138</c:v>
                </c:pt>
                <c:pt idx="627">
                  <c:v>70.166332699999998</c:v>
                </c:pt>
                <c:pt idx="628">
                  <c:v>69.459337485714286</c:v>
                </c:pt>
                <c:pt idx="629">
                  <c:v>68.574246485714283</c:v>
                </c:pt>
                <c:pt idx="630">
                  <c:v>67.638700900000003</c:v>
                </c:pt>
                <c:pt idx="631">
                  <c:v>66.677803085714288</c:v>
                </c:pt>
                <c:pt idx="632">
                  <c:v>65.698212885714284</c:v>
                </c:pt>
                <c:pt idx="633">
                  <c:v>64.730062657142852</c:v>
                </c:pt>
                <c:pt idx="634">
                  <c:v>64.064855600000001</c:v>
                </c:pt>
                <c:pt idx="635">
                  <c:v>63.732786485714279</c:v>
                </c:pt>
                <c:pt idx="636">
                  <c:v>63.581982600000011</c:v>
                </c:pt>
                <c:pt idx="637">
                  <c:v>63.616643871428565</c:v>
                </c:pt>
                <c:pt idx="638">
                  <c:v>63.969322214285718</c:v>
                </c:pt>
                <c:pt idx="639">
                  <c:v>64.628515857142858</c:v>
                </c:pt>
                <c:pt idx="640">
                  <c:v>65.506333900000001</c:v>
                </c:pt>
                <c:pt idx="641">
                  <c:v>66.435332800000012</c:v>
                </c:pt>
                <c:pt idx="642">
                  <c:v>67.466325071428585</c:v>
                </c:pt>
                <c:pt idx="643">
                  <c:v>68.728769985714294</c:v>
                </c:pt>
                <c:pt idx="644">
                  <c:v>70.486399371428561</c:v>
                </c:pt>
                <c:pt idx="645">
                  <c:v>72.869749214285704</c:v>
                </c:pt>
                <c:pt idx="646">
                  <c:v>75.827832342857135</c:v>
                </c:pt>
                <c:pt idx="647">
                  <c:v>79.533680357142856</c:v>
                </c:pt>
                <c:pt idx="648">
                  <c:v>84.230363614285707</c:v>
                </c:pt>
                <c:pt idx="649">
                  <c:v>90.546622214285705</c:v>
                </c:pt>
                <c:pt idx="650">
                  <c:v>98.915407414285724</c:v>
                </c:pt>
                <c:pt idx="651">
                  <c:v>108.73972322857142</c:v>
                </c:pt>
                <c:pt idx="652">
                  <c:v>119.63931877142856</c:v>
                </c:pt>
                <c:pt idx="653">
                  <c:v>131.59173922857141</c:v>
                </c:pt>
                <c:pt idx="654">
                  <c:v>144.08786402857143</c:v>
                </c:pt>
                <c:pt idx="655">
                  <c:v>156.48864744285714</c:v>
                </c:pt>
                <c:pt idx="656">
                  <c:v>167.87724658571429</c:v>
                </c:pt>
                <c:pt idx="657">
                  <c:v>177.27990492857143</c:v>
                </c:pt>
                <c:pt idx="658">
                  <c:v>184.67313695714284</c:v>
                </c:pt>
                <c:pt idx="659">
                  <c:v>189.80649294285715</c:v>
                </c:pt>
                <c:pt idx="660">
                  <c:v>193.12637409999999</c:v>
                </c:pt>
                <c:pt idx="661">
                  <c:v>195.29636315714288</c:v>
                </c:pt>
                <c:pt idx="662">
                  <c:v>196.84518415714288</c:v>
                </c:pt>
                <c:pt idx="663">
                  <c:v>198.03201954285714</c:v>
                </c:pt>
                <c:pt idx="664">
                  <c:v>199.11574675714286</c:v>
                </c:pt>
                <c:pt idx="665">
                  <c:v>200.97960079999999</c:v>
                </c:pt>
                <c:pt idx="666">
                  <c:v>204.34033447142858</c:v>
                </c:pt>
                <c:pt idx="667">
                  <c:v>208.4866907</c:v>
                </c:pt>
                <c:pt idx="668">
                  <c:v>213.07675739999999</c:v>
                </c:pt>
                <c:pt idx="669">
                  <c:v>218.51141361428569</c:v>
                </c:pt>
                <c:pt idx="670">
                  <c:v>224.53567615714289</c:v>
                </c:pt>
                <c:pt idx="671">
                  <c:v>230.59069470000003</c:v>
                </c:pt>
                <c:pt idx="672">
                  <c:v>235.77255857142856</c:v>
                </c:pt>
                <c:pt idx="673">
                  <c:v>240.10454009999998</c:v>
                </c:pt>
                <c:pt idx="674">
                  <c:v>244.12771742857143</c:v>
                </c:pt>
                <c:pt idx="675">
                  <c:v>248.15106798571426</c:v>
                </c:pt>
                <c:pt idx="676">
                  <c:v>251.54302049999998</c:v>
                </c:pt>
                <c:pt idx="677">
                  <c:v>254.52682105714285</c:v>
                </c:pt>
                <c:pt idx="678">
                  <c:v>257.87190402857146</c:v>
                </c:pt>
                <c:pt idx="679">
                  <c:v>261.67978248571433</c:v>
                </c:pt>
                <c:pt idx="680">
                  <c:v>265.29373455714284</c:v>
                </c:pt>
                <c:pt idx="681">
                  <c:v>269.04542345714287</c:v>
                </c:pt>
                <c:pt idx="682">
                  <c:v>273.02645368571433</c:v>
                </c:pt>
                <c:pt idx="683">
                  <c:v>276.54997894285714</c:v>
                </c:pt>
                <c:pt idx="684">
                  <c:v>279.43955855714285</c:v>
                </c:pt>
                <c:pt idx="685">
                  <c:v>281.65881578571424</c:v>
                </c:pt>
                <c:pt idx="686">
                  <c:v>283.44149788571428</c:v>
                </c:pt>
                <c:pt idx="687">
                  <c:v>284.92814751428568</c:v>
                </c:pt>
                <c:pt idx="688">
                  <c:v>284.67925342857143</c:v>
                </c:pt>
                <c:pt idx="689">
                  <c:v>280.91032265714284</c:v>
                </c:pt>
                <c:pt idx="690">
                  <c:v>274.18841579999997</c:v>
                </c:pt>
                <c:pt idx="691">
                  <c:v>264.74952385714289</c:v>
                </c:pt>
                <c:pt idx="692">
                  <c:v>252.89110114285714</c:v>
                </c:pt>
                <c:pt idx="693">
                  <c:v>238.9725851428571</c:v>
                </c:pt>
                <c:pt idx="694">
                  <c:v>223.19579049999999</c:v>
                </c:pt>
                <c:pt idx="695">
                  <c:v>206.773269</c:v>
                </c:pt>
                <c:pt idx="696">
                  <c:v>192.01129111428574</c:v>
                </c:pt>
                <c:pt idx="697">
                  <c:v>179.90259465714286</c:v>
                </c:pt>
                <c:pt idx="698">
                  <c:v>170.67987635714286</c:v>
                </c:pt>
                <c:pt idx="699">
                  <c:v>164.21099855714283</c:v>
                </c:pt>
                <c:pt idx="700">
                  <c:v>160.25002898571432</c:v>
                </c:pt>
                <c:pt idx="701">
                  <c:v>158.85210030000002</c:v>
                </c:pt>
                <c:pt idx="702">
                  <c:v>160.15501277142857</c:v>
                </c:pt>
                <c:pt idx="703">
                  <c:v>163.30973098571425</c:v>
                </c:pt>
                <c:pt idx="704">
                  <c:v>167.24608091428573</c:v>
                </c:pt>
                <c:pt idx="705">
                  <c:v>171.7729794857143</c:v>
                </c:pt>
                <c:pt idx="706">
                  <c:v>176.63444895714287</c:v>
                </c:pt>
                <c:pt idx="707">
                  <c:v>181.61835197142858</c:v>
                </c:pt>
                <c:pt idx="708">
                  <c:v>186.84860427142854</c:v>
                </c:pt>
                <c:pt idx="709">
                  <c:v>191.9965475857143</c:v>
                </c:pt>
                <c:pt idx="710">
                  <c:v>197.70048372857147</c:v>
                </c:pt>
                <c:pt idx="711">
                  <c:v>204.63696584285714</c:v>
                </c:pt>
                <c:pt idx="712">
                  <c:v>212.66235244285713</c:v>
                </c:pt>
                <c:pt idx="713">
                  <c:v>221.80302042857144</c:v>
                </c:pt>
                <c:pt idx="714">
                  <c:v>231.72919632857148</c:v>
                </c:pt>
                <c:pt idx="715">
                  <c:v>241.90170351428574</c:v>
                </c:pt>
                <c:pt idx="716">
                  <c:v>252.30325191428574</c:v>
                </c:pt>
                <c:pt idx="717">
                  <c:v>262.71000328571432</c:v>
                </c:pt>
                <c:pt idx="718">
                  <c:v>273.23341515714282</c:v>
                </c:pt>
                <c:pt idx="719">
                  <c:v>283.4450992714286</c:v>
                </c:pt>
                <c:pt idx="720">
                  <c:v>292.86845579999999</c:v>
                </c:pt>
                <c:pt idx="721">
                  <c:v>302.37243760000001</c:v>
                </c:pt>
                <c:pt idx="722">
                  <c:v>312.71656965714283</c:v>
                </c:pt>
                <c:pt idx="723">
                  <c:v>323.17332715714286</c:v>
                </c:pt>
                <c:pt idx="724">
                  <c:v>333.06565198571428</c:v>
                </c:pt>
                <c:pt idx="725">
                  <c:v>342.26097805714289</c:v>
                </c:pt>
                <c:pt idx="726">
                  <c:v>352.01185410000005</c:v>
                </c:pt>
                <c:pt idx="727">
                  <c:v>363.14112134285716</c:v>
                </c:pt>
                <c:pt idx="728">
                  <c:v>374.18313974285712</c:v>
                </c:pt>
                <c:pt idx="729">
                  <c:v>383.82590371428569</c:v>
                </c:pt>
                <c:pt idx="730">
                  <c:v>392.61162254285711</c:v>
                </c:pt>
                <c:pt idx="731">
                  <c:v>400.79775204285716</c:v>
                </c:pt>
                <c:pt idx="732">
                  <c:v>408.28576651428574</c:v>
                </c:pt>
                <c:pt idx="733">
                  <c:v>415.38486544285718</c:v>
                </c:pt>
                <c:pt idx="734">
                  <c:v>421.71818031428575</c:v>
                </c:pt>
                <c:pt idx="735">
                  <c:v>427.1098951714286</c:v>
                </c:pt>
                <c:pt idx="736">
                  <c:v>431.28230588571432</c:v>
                </c:pt>
                <c:pt idx="737">
                  <c:v>434.66744755714291</c:v>
                </c:pt>
                <c:pt idx="738">
                  <c:v>437.51204048571435</c:v>
                </c:pt>
                <c:pt idx="739">
                  <c:v>440.52992382857144</c:v>
                </c:pt>
                <c:pt idx="740">
                  <c:v>442.04788489999999</c:v>
                </c:pt>
                <c:pt idx="741">
                  <c:v>441.93230528571428</c:v>
                </c:pt>
                <c:pt idx="742">
                  <c:v>440.72803621428574</c:v>
                </c:pt>
                <c:pt idx="743">
                  <c:v>438.96953252857145</c:v>
                </c:pt>
                <c:pt idx="744">
                  <c:v>436.11784761428572</c:v>
                </c:pt>
                <c:pt idx="745">
                  <c:v>432.68024980000001</c:v>
                </c:pt>
                <c:pt idx="746">
                  <c:v>429.18942267142853</c:v>
                </c:pt>
                <c:pt idx="747">
                  <c:v>426.74030711428566</c:v>
                </c:pt>
                <c:pt idx="748">
                  <c:v>425.2568609857143</c:v>
                </c:pt>
                <c:pt idx="749">
                  <c:v>424.59421067142847</c:v>
                </c:pt>
                <c:pt idx="750">
                  <c:v>424.87169211428562</c:v>
                </c:pt>
                <c:pt idx="751">
                  <c:v>426.96184761428566</c:v>
                </c:pt>
                <c:pt idx="752">
                  <c:v>430.34382334285709</c:v>
                </c:pt>
                <c:pt idx="753">
                  <c:v>432.6557340999999</c:v>
                </c:pt>
                <c:pt idx="754">
                  <c:v>433.44244987142855</c:v>
                </c:pt>
                <c:pt idx="755">
                  <c:v>433.02230549999996</c:v>
                </c:pt>
                <c:pt idx="756">
                  <c:v>432.0810731285714</c:v>
                </c:pt>
                <c:pt idx="757">
                  <c:v>430.43041454285702</c:v>
                </c:pt>
                <c:pt idx="758">
                  <c:v>428.00242742857142</c:v>
                </c:pt>
                <c:pt idx="759">
                  <c:v>424.72973058571426</c:v>
                </c:pt>
                <c:pt idx="760">
                  <c:v>421.24442064285716</c:v>
                </c:pt>
                <c:pt idx="761">
                  <c:v>417.89348637142859</c:v>
                </c:pt>
                <c:pt idx="762">
                  <c:v>414.50508441428565</c:v>
                </c:pt>
                <c:pt idx="763">
                  <c:v>411.93864784285705</c:v>
                </c:pt>
                <c:pt idx="764">
                  <c:v>410.75988008571431</c:v>
                </c:pt>
                <c:pt idx="765">
                  <c:v>409.2242906285714</c:v>
                </c:pt>
                <c:pt idx="766">
                  <c:v>407.09218794285715</c:v>
                </c:pt>
                <c:pt idx="767">
                  <c:v>405.80459682857145</c:v>
                </c:pt>
                <c:pt idx="768">
                  <c:v>405.09644287142856</c:v>
                </c:pt>
                <c:pt idx="769">
                  <c:v>405.37358562857145</c:v>
                </c:pt>
                <c:pt idx="770">
                  <c:v>405.94265231428574</c:v>
                </c:pt>
                <c:pt idx="771">
                  <c:v>406.15701674285719</c:v>
                </c:pt>
                <c:pt idx="772">
                  <c:v>404.80533254285717</c:v>
                </c:pt>
                <c:pt idx="773">
                  <c:v>401.01002985714285</c:v>
                </c:pt>
                <c:pt idx="774">
                  <c:v>393.26883061428572</c:v>
                </c:pt>
                <c:pt idx="775">
                  <c:v>381.08834728571429</c:v>
                </c:pt>
                <c:pt idx="776">
                  <c:v>364.56021857142861</c:v>
                </c:pt>
                <c:pt idx="777">
                  <c:v>344.27278294285713</c:v>
                </c:pt>
                <c:pt idx="778">
                  <c:v>321.40896190000007</c:v>
                </c:pt>
                <c:pt idx="779">
                  <c:v>298.5544894285714</c:v>
                </c:pt>
                <c:pt idx="780">
                  <c:v>277.4706132</c:v>
                </c:pt>
                <c:pt idx="781">
                  <c:v>258.89092454285714</c:v>
                </c:pt>
                <c:pt idx="782">
                  <c:v>243.41035748571429</c:v>
                </c:pt>
                <c:pt idx="783">
                  <c:v>230.82469055714287</c:v>
                </c:pt>
                <c:pt idx="784">
                  <c:v>220.17183364285711</c:v>
                </c:pt>
                <c:pt idx="785">
                  <c:v>211.02069808571429</c:v>
                </c:pt>
                <c:pt idx="786">
                  <c:v>204.15500011428568</c:v>
                </c:pt>
                <c:pt idx="787">
                  <c:v>199.38491975714282</c:v>
                </c:pt>
                <c:pt idx="788">
                  <c:v>196.01391768571429</c:v>
                </c:pt>
                <c:pt idx="789">
                  <c:v>193.84834440000003</c:v>
                </c:pt>
                <c:pt idx="790">
                  <c:v>192.84820717142858</c:v>
                </c:pt>
                <c:pt idx="791">
                  <c:v>193.06448104285715</c:v>
                </c:pt>
                <c:pt idx="792">
                  <c:v>194.00553982857144</c:v>
                </c:pt>
                <c:pt idx="793">
                  <c:v>194.62867724285712</c:v>
                </c:pt>
                <c:pt idx="794">
                  <c:v>194.31450795714287</c:v>
                </c:pt>
                <c:pt idx="795">
                  <c:v>193.21540067142857</c:v>
                </c:pt>
                <c:pt idx="796">
                  <c:v>191.54538928571429</c:v>
                </c:pt>
                <c:pt idx="797">
                  <c:v>189.46366858571429</c:v>
                </c:pt>
                <c:pt idx="798">
                  <c:v>187.5091418142857</c:v>
                </c:pt>
                <c:pt idx="799">
                  <c:v>186.04455678571429</c:v>
                </c:pt>
                <c:pt idx="800">
                  <c:v>185.08507454285709</c:v>
                </c:pt>
                <c:pt idx="801">
                  <c:v>185.0907187285714</c:v>
                </c:pt>
                <c:pt idx="802">
                  <c:v>187.06631951428568</c:v>
                </c:pt>
                <c:pt idx="803">
                  <c:v>191.72162255714287</c:v>
                </c:pt>
                <c:pt idx="804">
                  <c:v>195.482779271428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F80-4D44-B5FB-C7344E7BB0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77514272"/>
        <c:axId val="27751483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ual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806</c:f>
              <c:numCache>
                <c:formatCode>m/d/yyyy</c:formatCode>
                <c:ptCount val="805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  <c:pt idx="730">
                  <c:v>44357</c:v>
                </c:pt>
                <c:pt idx="731">
                  <c:v>44358</c:v>
                </c:pt>
                <c:pt idx="732">
                  <c:v>44359</c:v>
                </c:pt>
                <c:pt idx="733">
                  <c:v>44360</c:v>
                </c:pt>
                <c:pt idx="734">
                  <c:v>44361</c:v>
                </c:pt>
                <c:pt idx="735">
                  <c:v>44362</c:v>
                </c:pt>
                <c:pt idx="736">
                  <c:v>44363</c:v>
                </c:pt>
                <c:pt idx="737">
                  <c:v>44364</c:v>
                </c:pt>
                <c:pt idx="738">
                  <c:v>44365</c:v>
                </c:pt>
                <c:pt idx="739">
                  <c:v>44366</c:v>
                </c:pt>
                <c:pt idx="740">
                  <c:v>44367</c:v>
                </c:pt>
                <c:pt idx="741">
                  <c:v>44368</c:v>
                </c:pt>
                <c:pt idx="742">
                  <c:v>44369</c:v>
                </c:pt>
                <c:pt idx="743">
                  <c:v>44370</c:v>
                </c:pt>
                <c:pt idx="744">
                  <c:v>44371</c:v>
                </c:pt>
                <c:pt idx="745">
                  <c:v>44372</c:v>
                </c:pt>
                <c:pt idx="746">
                  <c:v>44373</c:v>
                </c:pt>
                <c:pt idx="747">
                  <c:v>44374</c:v>
                </c:pt>
                <c:pt idx="748">
                  <c:v>44375</c:v>
                </c:pt>
                <c:pt idx="749">
                  <c:v>44376</c:v>
                </c:pt>
                <c:pt idx="750">
                  <c:v>44377</c:v>
                </c:pt>
                <c:pt idx="751">
                  <c:v>44378</c:v>
                </c:pt>
                <c:pt idx="752">
                  <c:v>44379</c:v>
                </c:pt>
                <c:pt idx="753">
                  <c:v>44380</c:v>
                </c:pt>
                <c:pt idx="754">
                  <c:v>44381</c:v>
                </c:pt>
                <c:pt idx="755">
                  <c:v>44382</c:v>
                </c:pt>
                <c:pt idx="756">
                  <c:v>44383</c:v>
                </c:pt>
                <c:pt idx="757">
                  <c:v>44384</c:v>
                </c:pt>
                <c:pt idx="758">
                  <c:v>44385</c:v>
                </c:pt>
                <c:pt idx="759">
                  <c:v>44386</c:v>
                </c:pt>
                <c:pt idx="760">
                  <c:v>44387</c:v>
                </c:pt>
                <c:pt idx="761">
                  <c:v>44388</c:v>
                </c:pt>
                <c:pt idx="762">
                  <c:v>44389</c:v>
                </c:pt>
                <c:pt idx="763">
                  <c:v>44390</c:v>
                </c:pt>
                <c:pt idx="764">
                  <c:v>44391</c:v>
                </c:pt>
                <c:pt idx="765">
                  <c:v>44392</c:v>
                </c:pt>
                <c:pt idx="766">
                  <c:v>44393</c:v>
                </c:pt>
                <c:pt idx="767">
                  <c:v>44394</c:v>
                </c:pt>
                <c:pt idx="768">
                  <c:v>44395</c:v>
                </c:pt>
                <c:pt idx="769">
                  <c:v>44396</c:v>
                </c:pt>
                <c:pt idx="770">
                  <c:v>44397</c:v>
                </c:pt>
                <c:pt idx="771">
                  <c:v>44398</c:v>
                </c:pt>
                <c:pt idx="772">
                  <c:v>44399</c:v>
                </c:pt>
                <c:pt idx="773">
                  <c:v>44400</c:v>
                </c:pt>
                <c:pt idx="774">
                  <c:v>44401</c:v>
                </c:pt>
                <c:pt idx="775">
                  <c:v>44402</c:v>
                </c:pt>
                <c:pt idx="776">
                  <c:v>44403</c:v>
                </c:pt>
                <c:pt idx="777">
                  <c:v>44404</c:v>
                </c:pt>
                <c:pt idx="778">
                  <c:v>44405</c:v>
                </c:pt>
                <c:pt idx="779">
                  <c:v>44406</c:v>
                </c:pt>
                <c:pt idx="780">
                  <c:v>44407</c:v>
                </c:pt>
                <c:pt idx="781">
                  <c:v>44408</c:v>
                </c:pt>
                <c:pt idx="782">
                  <c:v>44409</c:v>
                </c:pt>
                <c:pt idx="783">
                  <c:v>44410</c:v>
                </c:pt>
                <c:pt idx="784">
                  <c:v>44411</c:v>
                </c:pt>
                <c:pt idx="785">
                  <c:v>44412</c:v>
                </c:pt>
                <c:pt idx="786">
                  <c:v>44413</c:v>
                </c:pt>
                <c:pt idx="787">
                  <c:v>44414</c:v>
                </c:pt>
                <c:pt idx="788">
                  <c:v>44415</c:v>
                </c:pt>
                <c:pt idx="789">
                  <c:v>44416</c:v>
                </c:pt>
                <c:pt idx="790">
                  <c:v>44417</c:v>
                </c:pt>
                <c:pt idx="791">
                  <c:v>44418</c:v>
                </c:pt>
                <c:pt idx="792">
                  <c:v>44419</c:v>
                </c:pt>
                <c:pt idx="793">
                  <c:v>44420</c:v>
                </c:pt>
                <c:pt idx="794">
                  <c:v>44421</c:v>
                </c:pt>
                <c:pt idx="795">
                  <c:v>44422</c:v>
                </c:pt>
                <c:pt idx="796">
                  <c:v>44423</c:v>
                </c:pt>
                <c:pt idx="797">
                  <c:v>44424</c:v>
                </c:pt>
                <c:pt idx="798">
                  <c:v>44425</c:v>
                </c:pt>
                <c:pt idx="799">
                  <c:v>44426</c:v>
                </c:pt>
                <c:pt idx="800">
                  <c:v>44427</c:v>
                </c:pt>
                <c:pt idx="801">
                  <c:v>44428</c:v>
                </c:pt>
                <c:pt idx="802">
                  <c:v>44429</c:v>
                </c:pt>
                <c:pt idx="803">
                  <c:v>44430</c:v>
                </c:pt>
                <c:pt idx="804">
                  <c:v>44431</c:v>
                </c:pt>
              </c:numCache>
            </c:numRef>
          </c:cat>
          <c:val>
            <c:numRef>
              <c:f>Sheet1!$B$2:$B$864</c:f>
              <c:numCache>
                <c:formatCode>#,##0</c:formatCode>
                <c:ptCount val="8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3000.4285714285716</c:v>
                </c:pt>
                <c:pt idx="7">
                  <c:v>3232.8571428571427</c:v>
                </c:pt>
                <c:pt idx="8">
                  <c:v>3263.7142857142858</c:v>
                </c:pt>
                <c:pt idx="9">
                  <c:v>3225.7142857142858</c:v>
                </c:pt>
                <c:pt idx="10">
                  <c:v>3089.1428571428573</c:v>
                </c:pt>
                <c:pt idx="11">
                  <c:v>2908.2857142857142</c:v>
                </c:pt>
                <c:pt idx="12">
                  <c:v>2870.7142857142858</c:v>
                </c:pt>
                <c:pt idx="13">
                  <c:v>2802.2857142857142</c:v>
                </c:pt>
                <c:pt idx="14">
                  <c:v>2728.4285714285716</c:v>
                </c:pt>
                <c:pt idx="15">
                  <c:v>2672.2857142857142</c:v>
                </c:pt>
                <c:pt idx="16">
                  <c:v>2630</c:v>
                </c:pt>
                <c:pt idx="17">
                  <c:v>2576.7142857142858</c:v>
                </c:pt>
                <c:pt idx="18">
                  <c:v>2591.1428571428573</c:v>
                </c:pt>
                <c:pt idx="19">
                  <c:v>2589</c:v>
                </c:pt>
                <c:pt idx="20">
                  <c:v>2549.5714285714284</c:v>
                </c:pt>
                <c:pt idx="21">
                  <c:v>2463.7142857142858</c:v>
                </c:pt>
                <c:pt idx="22">
                  <c:v>2369</c:v>
                </c:pt>
                <c:pt idx="23">
                  <c:v>2295.2857142857142</c:v>
                </c:pt>
                <c:pt idx="24">
                  <c:v>2248.2857142857142</c:v>
                </c:pt>
                <c:pt idx="25">
                  <c:v>2192.7142857142858</c:v>
                </c:pt>
                <c:pt idx="26">
                  <c:v>2177.2857142857142</c:v>
                </c:pt>
                <c:pt idx="27">
                  <c:v>2234.1428571428573</c:v>
                </c:pt>
                <c:pt idx="28">
                  <c:v>2318.7142857142858</c:v>
                </c:pt>
                <c:pt idx="29">
                  <c:v>2402.1428571428573</c:v>
                </c:pt>
                <c:pt idx="30">
                  <c:v>2450.1428571428573</c:v>
                </c:pt>
                <c:pt idx="31">
                  <c:v>2502.2857142857142</c:v>
                </c:pt>
                <c:pt idx="32">
                  <c:v>2575.2857142857142</c:v>
                </c:pt>
                <c:pt idx="33">
                  <c:v>2649.5714285714284</c:v>
                </c:pt>
                <c:pt idx="34">
                  <c:v>2688.2857142857142</c:v>
                </c:pt>
                <c:pt idx="35">
                  <c:v>2732.5714285714284</c:v>
                </c:pt>
                <c:pt idx="36">
                  <c:v>2786</c:v>
                </c:pt>
                <c:pt idx="37">
                  <c:v>2825.5714285714284</c:v>
                </c:pt>
                <c:pt idx="38">
                  <c:v>2937.1428571428573</c:v>
                </c:pt>
                <c:pt idx="39">
                  <c:v>3054.8571428571427</c:v>
                </c:pt>
                <c:pt idx="40">
                  <c:v>3129</c:v>
                </c:pt>
                <c:pt idx="41">
                  <c:v>3165.5714285714284</c:v>
                </c:pt>
                <c:pt idx="42">
                  <c:v>3224.5714285714284</c:v>
                </c:pt>
                <c:pt idx="43">
                  <c:v>3299.2857142857142</c:v>
                </c:pt>
                <c:pt idx="44">
                  <c:v>3513.5714285714284</c:v>
                </c:pt>
                <c:pt idx="45">
                  <c:v>3556</c:v>
                </c:pt>
                <c:pt idx="46">
                  <c:v>3680.2857142857142</c:v>
                </c:pt>
                <c:pt idx="47">
                  <c:v>3767.1428571428573</c:v>
                </c:pt>
                <c:pt idx="48">
                  <c:v>3811.8571428571427</c:v>
                </c:pt>
                <c:pt idx="49">
                  <c:v>3879.5714285714284</c:v>
                </c:pt>
                <c:pt idx="50">
                  <c:v>3936.4285714285716</c:v>
                </c:pt>
                <c:pt idx="51">
                  <c:v>3884.2857142857142</c:v>
                </c:pt>
                <c:pt idx="52">
                  <c:v>3986.2857142857142</c:v>
                </c:pt>
                <c:pt idx="53">
                  <c:v>4046.7142857142858</c:v>
                </c:pt>
                <c:pt idx="54">
                  <c:v>4094.4285714285716</c:v>
                </c:pt>
                <c:pt idx="55">
                  <c:v>4161.7142857142853</c:v>
                </c:pt>
                <c:pt idx="56">
                  <c:v>4191.1428571428569</c:v>
                </c:pt>
                <c:pt idx="57">
                  <c:v>4233</c:v>
                </c:pt>
                <c:pt idx="58">
                  <c:v>4316</c:v>
                </c:pt>
                <c:pt idx="59">
                  <c:v>4473.7142857142853</c:v>
                </c:pt>
                <c:pt idx="60">
                  <c:v>4629.4285714285716</c:v>
                </c:pt>
                <c:pt idx="61">
                  <c:v>4804</c:v>
                </c:pt>
                <c:pt idx="62">
                  <c:v>4833.7142857142853</c:v>
                </c:pt>
                <c:pt idx="63">
                  <c:v>4822.7142857142853</c:v>
                </c:pt>
                <c:pt idx="64">
                  <c:v>4855.8571428571431</c:v>
                </c:pt>
                <c:pt idx="65">
                  <c:v>4869.4285714285716</c:v>
                </c:pt>
                <c:pt idx="66">
                  <c:v>4864.1428571428569</c:v>
                </c:pt>
                <c:pt idx="67">
                  <c:v>4875</c:v>
                </c:pt>
                <c:pt idx="68">
                  <c:v>4848.8571428571431</c:v>
                </c:pt>
                <c:pt idx="69">
                  <c:v>4831.4285714285716</c:v>
                </c:pt>
                <c:pt idx="70">
                  <c:v>4854.5714285714284</c:v>
                </c:pt>
                <c:pt idx="71">
                  <c:v>4835.2857142857147</c:v>
                </c:pt>
                <c:pt idx="72">
                  <c:v>4826.1428571428569</c:v>
                </c:pt>
                <c:pt idx="73">
                  <c:v>4807.5714285714284</c:v>
                </c:pt>
                <c:pt idx="74">
                  <c:v>4850.4285714285716</c:v>
                </c:pt>
                <c:pt idx="75">
                  <c:v>5060.1428571428569</c:v>
                </c:pt>
                <c:pt idx="76">
                  <c:v>5359.4285714285716</c:v>
                </c:pt>
                <c:pt idx="77">
                  <c:v>5397.8571428571431</c:v>
                </c:pt>
                <c:pt idx="78">
                  <c:v>5417.2857142857147</c:v>
                </c:pt>
                <c:pt idx="79">
                  <c:v>5454.8571428571431</c:v>
                </c:pt>
                <c:pt idx="80">
                  <c:v>5596.7142857142853</c:v>
                </c:pt>
                <c:pt idx="81">
                  <c:v>5848</c:v>
                </c:pt>
                <c:pt idx="82">
                  <c:v>5821.5714285714284</c:v>
                </c:pt>
                <c:pt idx="83">
                  <c:v>5651.8571428571431</c:v>
                </c:pt>
                <c:pt idx="84">
                  <c:v>5731.2857142857147</c:v>
                </c:pt>
                <c:pt idx="85">
                  <c:v>5837.1428571428569</c:v>
                </c:pt>
                <c:pt idx="86">
                  <c:v>5899.8571428571431</c:v>
                </c:pt>
                <c:pt idx="87">
                  <c:v>5894</c:v>
                </c:pt>
                <c:pt idx="88">
                  <c:v>5981.4285714285716</c:v>
                </c:pt>
                <c:pt idx="89">
                  <c:v>6000.8571428571431</c:v>
                </c:pt>
                <c:pt idx="90">
                  <c:v>5978</c:v>
                </c:pt>
                <c:pt idx="91">
                  <c:v>5938.2857142857147</c:v>
                </c:pt>
                <c:pt idx="92">
                  <c:v>5917.2857142857147</c:v>
                </c:pt>
                <c:pt idx="93">
                  <c:v>5968.1428571428569</c:v>
                </c:pt>
                <c:pt idx="94">
                  <c:v>6124.2857142857147</c:v>
                </c:pt>
                <c:pt idx="95">
                  <c:v>6247.4285714285716</c:v>
                </c:pt>
                <c:pt idx="96">
                  <c:v>6380.8571428571431</c:v>
                </c:pt>
                <c:pt idx="97">
                  <c:v>6419.2857142857147</c:v>
                </c:pt>
                <c:pt idx="98">
                  <c:v>6470.2857142857147</c:v>
                </c:pt>
                <c:pt idx="99">
                  <c:v>6479.4285714285716</c:v>
                </c:pt>
                <c:pt idx="100">
                  <c:v>6442.1428571428569</c:v>
                </c:pt>
                <c:pt idx="101">
                  <c:v>6340.2857142857147</c:v>
                </c:pt>
                <c:pt idx="102">
                  <c:v>6251.1428571428569</c:v>
                </c:pt>
                <c:pt idx="103">
                  <c:v>6078.5714285714284</c:v>
                </c:pt>
                <c:pt idx="104">
                  <c:v>6025.5714285714284</c:v>
                </c:pt>
                <c:pt idx="105">
                  <c:v>6138</c:v>
                </c:pt>
                <c:pt idx="106">
                  <c:v>6173.2857142857147</c:v>
                </c:pt>
                <c:pt idx="107">
                  <c:v>6218.1428571428569</c:v>
                </c:pt>
                <c:pt idx="108">
                  <c:v>6233.2857142857147</c:v>
                </c:pt>
                <c:pt idx="109">
                  <c:v>6255.4285714285716</c:v>
                </c:pt>
                <c:pt idx="110">
                  <c:v>6314.7142857142853</c:v>
                </c:pt>
                <c:pt idx="111">
                  <c:v>6315.2857142857147</c:v>
                </c:pt>
                <c:pt idx="112">
                  <c:v>6287.7142857142853</c:v>
                </c:pt>
                <c:pt idx="113">
                  <c:v>6262.8571428571431</c:v>
                </c:pt>
                <c:pt idx="114">
                  <c:v>6240.1428571428569</c:v>
                </c:pt>
                <c:pt idx="115">
                  <c:v>6200.1428571428569</c:v>
                </c:pt>
                <c:pt idx="116">
                  <c:v>6171.1428571428569</c:v>
                </c:pt>
                <c:pt idx="117">
                  <c:v>6149.1428571428569</c:v>
                </c:pt>
                <c:pt idx="118">
                  <c:v>5982.4285714285716</c:v>
                </c:pt>
                <c:pt idx="119">
                  <c:v>5637</c:v>
                </c:pt>
                <c:pt idx="120">
                  <c:v>5343</c:v>
                </c:pt>
                <c:pt idx="121">
                  <c:v>5051.7142857142853</c:v>
                </c:pt>
                <c:pt idx="122">
                  <c:v>4874.7142857142853</c:v>
                </c:pt>
                <c:pt idx="123">
                  <c:v>4627.8571428571431</c:v>
                </c:pt>
                <c:pt idx="124">
                  <c:v>4379</c:v>
                </c:pt>
                <c:pt idx="125">
                  <c:v>4378.2857142857147</c:v>
                </c:pt>
                <c:pt idx="126">
                  <c:v>4426.7142857142853</c:v>
                </c:pt>
                <c:pt idx="127">
                  <c:v>4492.2857142857147</c:v>
                </c:pt>
                <c:pt idx="128">
                  <c:v>4507.1428571428569</c:v>
                </c:pt>
                <c:pt idx="129">
                  <c:v>4402.7142857142853</c:v>
                </c:pt>
                <c:pt idx="130">
                  <c:v>4186.5714285714284</c:v>
                </c:pt>
                <c:pt idx="131">
                  <c:v>4139.5714285714284</c:v>
                </c:pt>
                <c:pt idx="132">
                  <c:v>4146.7142857142853</c:v>
                </c:pt>
                <c:pt idx="133">
                  <c:v>4121.8571428571431</c:v>
                </c:pt>
                <c:pt idx="134">
                  <c:v>4109.4285714285716</c:v>
                </c:pt>
                <c:pt idx="135">
                  <c:v>4145.5714285714284</c:v>
                </c:pt>
                <c:pt idx="136">
                  <c:v>4149.2857142857147</c:v>
                </c:pt>
                <c:pt idx="137">
                  <c:v>4232.5714285714284</c:v>
                </c:pt>
                <c:pt idx="138">
                  <c:v>4205.4285714285716</c:v>
                </c:pt>
                <c:pt idx="139">
                  <c:v>4178</c:v>
                </c:pt>
                <c:pt idx="140">
                  <c:v>4209.4285714285716</c:v>
                </c:pt>
                <c:pt idx="141">
                  <c:v>4279.2857142857147</c:v>
                </c:pt>
                <c:pt idx="142">
                  <c:v>4380.5714285714284</c:v>
                </c:pt>
                <c:pt idx="143">
                  <c:v>4705.5714285714284</c:v>
                </c:pt>
                <c:pt idx="144">
                  <c:v>5090.7142857142853</c:v>
                </c:pt>
                <c:pt idx="145">
                  <c:v>5351.7142857142853</c:v>
                </c:pt>
                <c:pt idx="146">
                  <c:v>5383.7142857142853</c:v>
                </c:pt>
                <c:pt idx="147">
                  <c:v>5366.2857142857147</c:v>
                </c:pt>
                <c:pt idx="148">
                  <c:v>5283.8571428571431</c:v>
                </c:pt>
                <c:pt idx="149">
                  <c:v>5110.7142857142853</c:v>
                </c:pt>
                <c:pt idx="150">
                  <c:v>4709</c:v>
                </c:pt>
                <c:pt idx="151">
                  <c:v>4268.4285714285716</c:v>
                </c:pt>
                <c:pt idx="152">
                  <c:v>4010.7142857142858</c:v>
                </c:pt>
                <c:pt idx="153">
                  <c:v>3931.8571428571427</c:v>
                </c:pt>
                <c:pt idx="154">
                  <c:v>3834</c:v>
                </c:pt>
                <c:pt idx="155">
                  <c:v>3794</c:v>
                </c:pt>
                <c:pt idx="156">
                  <c:v>3750.1428571428573</c:v>
                </c:pt>
                <c:pt idx="157">
                  <c:v>3691.5714285714284</c:v>
                </c:pt>
                <c:pt idx="158">
                  <c:v>3496.1428571428573</c:v>
                </c:pt>
                <c:pt idx="159">
                  <c:v>3440.7142857142858</c:v>
                </c:pt>
                <c:pt idx="160">
                  <c:v>3407.4285714285716</c:v>
                </c:pt>
                <c:pt idx="161">
                  <c:v>3388.4285714285716</c:v>
                </c:pt>
                <c:pt idx="162">
                  <c:v>3336.5714285714284</c:v>
                </c:pt>
                <c:pt idx="163">
                  <c:v>3303.1428571428573</c:v>
                </c:pt>
                <c:pt idx="164">
                  <c:v>3302.1428571428573</c:v>
                </c:pt>
                <c:pt idx="165">
                  <c:v>3344.2857142857142</c:v>
                </c:pt>
                <c:pt idx="166">
                  <c:v>3356</c:v>
                </c:pt>
                <c:pt idx="167">
                  <c:v>3437.7142857142858</c:v>
                </c:pt>
                <c:pt idx="168">
                  <c:v>3622.2857142857142</c:v>
                </c:pt>
                <c:pt idx="169">
                  <c:v>3772.1428571428573</c:v>
                </c:pt>
                <c:pt idx="170">
                  <c:v>3951</c:v>
                </c:pt>
                <c:pt idx="171">
                  <c:v>4197.4285714285716</c:v>
                </c:pt>
                <c:pt idx="172">
                  <c:v>4515.8571428571431</c:v>
                </c:pt>
                <c:pt idx="173">
                  <c:v>4763.8571428571431</c:v>
                </c:pt>
                <c:pt idx="174">
                  <c:v>4828.7142857142853</c:v>
                </c:pt>
                <c:pt idx="175">
                  <c:v>4836.1428571428569</c:v>
                </c:pt>
                <c:pt idx="176">
                  <c:v>4901.4285714285716</c:v>
                </c:pt>
                <c:pt idx="177">
                  <c:v>4970.5714285714284</c:v>
                </c:pt>
                <c:pt idx="178">
                  <c:v>5128.1428571428569</c:v>
                </c:pt>
                <c:pt idx="179">
                  <c:v>5230.4285714285716</c:v>
                </c:pt>
                <c:pt idx="180">
                  <c:v>5336.5714285714284</c:v>
                </c:pt>
                <c:pt idx="181">
                  <c:v>5368.5714285714284</c:v>
                </c:pt>
                <c:pt idx="182">
                  <c:v>5495</c:v>
                </c:pt>
                <c:pt idx="183">
                  <c:v>5628.2857142857147</c:v>
                </c:pt>
                <c:pt idx="184">
                  <c:v>5956.8571428571431</c:v>
                </c:pt>
                <c:pt idx="185">
                  <c:v>6246.2857142857147</c:v>
                </c:pt>
                <c:pt idx="186">
                  <c:v>6727.1428571428569</c:v>
                </c:pt>
                <c:pt idx="187">
                  <c:v>7051.5714285714284</c:v>
                </c:pt>
                <c:pt idx="188">
                  <c:v>7199.7142857142853</c:v>
                </c:pt>
                <c:pt idx="189">
                  <c:v>7260.1428571428569</c:v>
                </c:pt>
                <c:pt idx="190">
                  <c:v>7397.8571428571431</c:v>
                </c:pt>
                <c:pt idx="191">
                  <c:v>7426.7142857142853</c:v>
                </c:pt>
                <c:pt idx="192">
                  <c:v>7561.1428571428569</c:v>
                </c:pt>
                <c:pt idx="193">
                  <c:v>7434</c:v>
                </c:pt>
                <c:pt idx="194">
                  <c:v>7234.4285714285716</c:v>
                </c:pt>
                <c:pt idx="195">
                  <c:v>7379.5714285714284</c:v>
                </c:pt>
                <c:pt idx="196">
                  <c:v>7652.8571428571431</c:v>
                </c:pt>
                <c:pt idx="197">
                  <c:v>8246.5714285714294</c:v>
                </c:pt>
                <c:pt idx="198">
                  <c:v>8215.1428571428569</c:v>
                </c:pt>
                <c:pt idx="199">
                  <c:v>7617.8571428571431</c:v>
                </c:pt>
                <c:pt idx="200">
                  <c:v>6885.4285714285716</c:v>
                </c:pt>
                <c:pt idx="201">
                  <c:v>6616.5714285714284</c:v>
                </c:pt>
                <c:pt idx="202">
                  <c:v>6482.2857142857147</c:v>
                </c:pt>
                <c:pt idx="203">
                  <c:v>7047.4285714285716</c:v>
                </c:pt>
                <c:pt idx="204">
                  <c:v>6919.8571428571431</c:v>
                </c:pt>
                <c:pt idx="205">
                  <c:v>6622.5714285714284</c:v>
                </c:pt>
                <c:pt idx="206">
                  <c:v>6596.2857142857147</c:v>
                </c:pt>
                <c:pt idx="207">
                  <c:v>6687</c:v>
                </c:pt>
                <c:pt idx="208">
                  <c:v>6636.5714285714284</c:v>
                </c:pt>
                <c:pt idx="209">
                  <c:v>6505.4285714285716</c:v>
                </c:pt>
                <c:pt idx="210">
                  <c:v>5430</c:v>
                </c:pt>
                <c:pt idx="211">
                  <c:v>4600.4285714285716</c:v>
                </c:pt>
                <c:pt idx="212">
                  <c:v>4426.8571428571431</c:v>
                </c:pt>
                <c:pt idx="213">
                  <c:v>4266.8571428571431</c:v>
                </c:pt>
                <c:pt idx="214">
                  <c:v>4232</c:v>
                </c:pt>
                <c:pt idx="215">
                  <c:v>4113.7142857142853</c:v>
                </c:pt>
                <c:pt idx="216">
                  <c:v>4016.2857142857142</c:v>
                </c:pt>
                <c:pt idx="217">
                  <c:v>4011.7142857142858</c:v>
                </c:pt>
                <c:pt idx="218">
                  <c:v>3991.4285714285716</c:v>
                </c:pt>
                <c:pt idx="219">
                  <c:v>3997.7142857142858</c:v>
                </c:pt>
                <c:pt idx="220">
                  <c:v>4048.1428571428573</c:v>
                </c:pt>
                <c:pt idx="221">
                  <c:v>4108.7142857142853</c:v>
                </c:pt>
                <c:pt idx="222">
                  <c:v>4167.2857142857147</c:v>
                </c:pt>
                <c:pt idx="223">
                  <c:v>4127.7142857142853</c:v>
                </c:pt>
                <c:pt idx="224">
                  <c:v>4081.7142857142858</c:v>
                </c:pt>
                <c:pt idx="225">
                  <c:v>4068.8571428571427</c:v>
                </c:pt>
                <c:pt idx="226">
                  <c:v>4061.7142857142858</c:v>
                </c:pt>
                <c:pt idx="227">
                  <c:v>4069.1428571428573</c:v>
                </c:pt>
                <c:pt idx="228">
                  <c:v>4121.7142857142853</c:v>
                </c:pt>
                <c:pt idx="229">
                  <c:v>4211.1428571428569</c:v>
                </c:pt>
                <c:pt idx="230">
                  <c:v>4233</c:v>
                </c:pt>
                <c:pt idx="231">
                  <c:v>4213.1428571428569</c:v>
                </c:pt>
                <c:pt idx="232">
                  <c:v>4194.2857142857147</c:v>
                </c:pt>
                <c:pt idx="233">
                  <c:v>4151</c:v>
                </c:pt>
                <c:pt idx="234">
                  <c:v>4157.5714285714284</c:v>
                </c:pt>
                <c:pt idx="235">
                  <c:v>4122.8571428571431</c:v>
                </c:pt>
                <c:pt idx="236">
                  <c:v>4059</c:v>
                </c:pt>
                <c:pt idx="237">
                  <c:v>4031.7142857142858</c:v>
                </c:pt>
                <c:pt idx="238">
                  <c:v>4004</c:v>
                </c:pt>
                <c:pt idx="239">
                  <c:v>3976.5714285714284</c:v>
                </c:pt>
                <c:pt idx="240">
                  <c:v>3978.7142857142858</c:v>
                </c:pt>
                <c:pt idx="241">
                  <c:v>3902.8571428571427</c:v>
                </c:pt>
                <c:pt idx="242">
                  <c:v>3870.2857142857142</c:v>
                </c:pt>
                <c:pt idx="243">
                  <c:v>3958</c:v>
                </c:pt>
                <c:pt idx="244">
                  <c:v>3971</c:v>
                </c:pt>
                <c:pt idx="245">
                  <c:v>3986.7142857142858</c:v>
                </c:pt>
                <c:pt idx="246">
                  <c:v>4021.5714285714284</c:v>
                </c:pt>
                <c:pt idx="247">
                  <c:v>4057.1428571428573</c:v>
                </c:pt>
                <c:pt idx="248">
                  <c:v>4187.2857142857147</c:v>
                </c:pt>
                <c:pt idx="249">
                  <c:v>4384.2857142857147</c:v>
                </c:pt>
                <c:pt idx="250">
                  <c:v>4451.5714285714284</c:v>
                </c:pt>
                <c:pt idx="251">
                  <c:v>4518.8571428571431</c:v>
                </c:pt>
                <c:pt idx="252">
                  <c:v>4615.2857142857147</c:v>
                </c:pt>
                <c:pt idx="253">
                  <c:v>4664.4285714285716</c:v>
                </c:pt>
                <c:pt idx="254">
                  <c:v>4738.4285714285716</c:v>
                </c:pt>
                <c:pt idx="255">
                  <c:v>4714.8571428571431</c:v>
                </c:pt>
                <c:pt idx="256">
                  <c:v>4664.5714285714284</c:v>
                </c:pt>
                <c:pt idx="257">
                  <c:v>4585</c:v>
                </c:pt>
                <c:pt idx="258">
                  <c:v>4544.7142857142853</c:v>
                </c:pt>
                <c:pt idx="259">
                  <c:v>4497.4285714285716</c:v>
                </c:pt>
                <c:pt idx="260">
                  <c:v>4487.4285714285716</c:v>
                </c:pt>
                <c:pt idx="261">
                  <c:v>4469.1428571428569</c:v>
                </c:pt>
                <c:pt idx="262">
                  <c:v>4529.8571428571431</c:v>
                </c:pt>
                <c:pt idx="263">
                  <c:v>4619.5714285714284</c:v>
                </c:pt>
                <c:pt idx="264">
                  <c:v>4643.7142857142853</c:v>
                </c:pt>
                <c:pt idx="265">
                  <c:v>4646.8571428571431</c:v>
                </c:pt>
                <c:pt idx="266">
                  <c:v>4639</c:v>
                </c:pt>
                <c:pt idx="267">
                  <c:v>4676.7142857142853</c:v>
                </c:pt>
                <c:pt idx="268">
                  <c:v>4738.7142857142853</c:v>
                </c:pt>
                <c:pt idx="269">
                  <c:v>4719.4285714285716</c:v>
                </c:pt>
                <c:pt idx="270">
                  <c:v>4635.7142857142853</c:v>
                </c:pt>
                <c:pt idx="271">
                  <c:v>4611.5714285714284</c:v>
                </c:pt>
                <c:pt idx="272">
                  <c:v>4656.4285714285716</c:v>
                </c:pt>
                <c:pt idx="273">
                  <c:v>4661</c:v>
                </c:pt>
                <c:pt idx="274">
                  <c:v>4595.4285714285716</c:v>
                </c:pt>
                <c:pt idx="275">
                  <c:v>4455</c:v>
                </c:pt>
                <c:pt idx="276">
                  <c:v>4318.8571428571431</c:v>
                </c:pt>
                <c:pt idx="277">
                  <c:v>4065</c:v>
                </c:pt>
                <c:pt idx="278">
                  <c:v>3846.8571428571427</c:v>
                </c:pt>
                <c:pt idx="279">
                  <c:v>3788.8571428571427</c:v>
                </c:pt>
                <c:pt idx="280">
                  <c:v>3712.8571428571427</c:v>
                </c:pt>
                <c:pt idx="281">
                  <c:v>3614.7142857142858</c:v>
                </c:pt>
                <c:pt idx="282">
                  <c:v>3527</c:v>
                </c:pt>
                <c:pt idx="283">
                  <c:v>3265.1428571428573</c:v>
                </c:pt>
                <c:pt idx="284">
                  <c:v>2629.2857142857142</c:v>
                </c:pt>
                <c:pt idx="285">
                  <c:v>2174.1428571428573</c:v>
                </c:pt>
                <c:pt idx="286">
                  <c:v>1953.1428571428571</c:v>
                </c:pt>
                <c:pt idx="287">
                  <c:v>1759.8571428571429</c:v>
                </c:pt>
                <c:pt idx="288">
                  <c:v>1553.2857142857142</c:v>
                </c:pt>
                <c:pt idx="289">
                  <c:v>1310.4285714285713</c:v>
                </c:pt>
                <c:pt idx="290">
                  <c:v>1083.5714285714287</c:v>
                </c:pt>
                <c:pt idx="291">
                  <c:v>909.42857142857144</c:v>
                </c:pt>
                <c:pt idx="292">
                  <c:v>792.14285714285711</c:v>
                </c:pt>
                <c:pt idx="293">
                  <c:v>696.71428571428567</c:v>
                </c:pt>
                <c:pt idx="294">
                  <c:v>634</c:v>
                </c:pt>
                <c:pt idx="295">
                  <c:v>592</c:v>
                </c:pt>
                <c:pt idx="296">
                  <c:v>560.28571428571433</c:v>
                </c:pt>
                <c:pt idx="297">
                  <c:v>515.85714285714289</c:v>
                </c:pt>
                <c:pt idx="298">
                  <c:v>480.85714285714283</c:v>
                </c:pt>
                <c:pt idx="299">
                  <c:v>458.57142857142856</c:v>
                </c:pt>
                <c:pt idx="300">
                  <c:v>434.85714285714283</c:v>
                </c:pt>
                <c:pt idx="301">
                  <c:v>417.85714285714283</c:v>
                </c:pt>
                <c:pt idx="302">
                  <c:v>401.42857142857144</c:v>
                </c:pt>
                <c:pt idx="303">
                  <c:v>397.28571428571428</c:v>
                </c:pt>
                <c:pt idx="304">
                  <c:v>385</c:v>
                </c:pt>
                <c:pt idx="305">
                  <c:v>369</c:v>
                </c:pt>
                <c:pt idx="306">
                  <c:v>355.71428571428572</c:v>
                </c:pt>
                <c:pt idx="307">
                  <c:v>346.14285714285717</c:v>
                </c:pt>
                <c:pt idx="308">
                  <c:v>338.85714285714283</c:v>
                </c:pt>
                <c:pt idx="309">
                  <c:v>337.71428571428572</c:v>
                </c:pt>
                <c:pt idx="310">
                  <c:v>328.71428571428572</c:v>
                </c:pt>
                <c:pt idx="311">
                  <c:v>331.71428571428572</c:v>
                </c:pt>
                <c:pt idx="312">
                  <c:v>331.28571428571428</c:v>
                </c:pt>
                <c:pt idx="313">
                  <c:v>332.57142857142856</c:v>
                </c:pt>
                <c:pt idx="314">
                  <c:v>333.42857142857144</c:v>
                </c:pt>
                <c:pt idx="315">
                  <c:v>333.42857142857144</c:v>
                </c:pt>
                <c:pt idx="316">
                  <c:v>332.42857142857144</c:v>
                </c:pt>
                <c:pt idx="317">
                  <c:v>336.28571428571428</c:v>
                </c:pt>
                <c:pt idx="318">
                  <c:v>332.42857142857144</c:v>
                </c:pt>
                <c:pt idx="319">
                  <c:v>334.85714285714283</c:v>
                </c:pt>
                <c:pt idx="320">
                  <c:v>328</c:v>
                </c:pt>
                <c:pt idx="321">
                  <c:v>325.28571428571428</c:v>
                </c:pt>
                <c:pt idx="322">
                  <c:v>323</c:v>
                </c:pt>
                <c:pt idx="323">
                  <c:v>321.85714285714283</c:v>
                </c:pt>
                <c:pt idx="324">
                  <c:v>314.28571428571428</c:v>
                </c:pt>
                <c:pt idx="325">
                  <c:v>314.85714285714283</c:v>
                </c:pt>
                <c:pt idx="326">
                  <c:v>321.42857142857144</c:v>
                </c:pt>
                <c:pt idx="327">
                  <c:v>325.57142857142856</c:v>
                </c:pt>
                <c:pt idx="328">
                  <c:v>317.85714285714283</c:v>
                </c:pt>
                <c:pt idx="329">
                  <c:v>313.28571428571428</c:v>
                </c:pt>
                <c:pt idx="330">
                  <c:v>321.71428571428572</c:v>
                </c:pt>
                <c:pt idx="331">
                  <c:v>339.42857142857144</c:v>
                </c:pt>
                <c:pt idx="332">
                  <c:v>347.42857142857144</c:v>
                </c:pt>
                <c:pt idx="333">
                  <c:v>359.28571428571428</c:v>
                </c:pt>
                <c:pt idx="334">
                  <c:v>370.71428571428572</c:v>
                </c:pt>
                <c:pt idx="335">
                  <c:v>383.28571428571428</c:v>
                </c:pt>
                <c:pt idx="336">
                  <c:v>396.57142857142856</c:v>
                </c:pt>
                <c:pt idx="337">
                  <c:v>396.14285714285717</c:v>
                </c:pt>
                <c:pt idx="338">
                  <c:v>387.42857142857144</c:v>
                </c:pt>
                <c:pt idx="339">
                  <c:v>389.85714285714283</c:v>
                </c:pt>
                <c:pt idx="340">
                  <c:v>390.71428571428572</c:v>
                </c:pt>
                <c:pt idx="341">
                  <c:v>396</c:v>
                </c:pt>
                <c:pt idx="342">
                  <c:v>393.28571428571428</c:v>
                </c:pt>
                <c:pt idx="343">
                  <c:v>400.57142857142856</c:v>
                </c:pt>
                <c:pt idx="344">
                  <c:v>408.42857142857144</c:v>
                </c:pt>
                <c:pt idx="345">
                  <c:v>412.85714285714283</c:v>
                </c:pt>
                <c:pt idx="346">
                  <c:v>412.28571428571428</c:v>
                </c:pt>
                <c:pt idx="347">
                  <c:v>418.14285714285717</c:v>
                </c:pt>
                <c:pt idx="348">
                  <c:v>444.57142857142856</c:v>
                </c:pt>
                <c:pt idx="349">
                  <c:v>475.85714285714283</c:v>
                </c:pt>
                <c:pt idx="350">
                  <c:v>483.57142857142856</c:v>
                </c:pt>
                <c:pt idx="351">
                  <c:v>489.42857142857144</c:v>
                </c:pt>
                <c:pt idx="352">
                  <c:v>500.71428571428572</c:v>
                </c:pt>
                <c:pt idx="353">
                  <c:v>528.28571428571433</c:v>
                </c:pt>
                <c:pt idx="354">
                  <c:v>574.14285714285711</c:v>
                </c:pt>
                <c:pt idx="355">
                  <c:v>572</c:v>
                </c:pt>
                <c:pt idx="356">
                  <c:v>564.85714285714289</c:v>
                </c:pt>
                <c:pt idx="357">
                  <c:v>610</c:v>
                </c:pt>
                <c:pt idx="358">
                  <c:v>643.14285714285711</c:v>
                </c:pt>
                <c:pt idx="359">
                  <c:v>670.57142857142856</c:v>
                </c:pt>
                <c:pt idx="360">
                  <c:v>708.85714285714289</c:v>
                </c:pt>
                <c:pt idx="361">
                  <c:v>756.14285714285711</c:v>
                </c:pt>
                <c:pt idx="362">
                  <c:v>798.57142857142856</c:v>
                </c:pt>
                <c:pt idx="363">
                  <c:v>823</c:v>
                </c:pt>
                <c:pt idx="364">
                  <c:v>811.42857142857144</c:v>
                </c:pt>
                <c:pt idx="365">
                  <c:v>808.85714285714289</c:v>
                </c:pt>
                <c:pt idx="366">
                  <c:v>806.42857142857144</c:v>
                </c:pt>
                <c:pt idx="367">
                  <c:v>797.71428571428567</c:v>
                </c:pt>
                <c:pt idx="368">
                  <c:v>827.42857142857144</c:v>
                </c:pt>
                <c:pt idx="369">
                  <c:v>855.57142857142856</c:v>
                </c:pt>
                <c:pt idx="370">
                  <c:v>864.28571428571433</c:v>
                </c:pt>
                <c:pt idx="371">
                  <c:v>872</c:v>
                </c:pt>
                <c:pt idx="372">
                  <c:v>893</c:v>
                </c:pt>
                <c:pt idx="373">
                  <c:v>926.28571428571433</c:v>
                </c:pt>
                <c:pt idx="374">
                  <c:v>964.71428571428567</c:v>
                </c:pt>
                <c:pt idx="375">
                  <c:v>1008.2857142857143</c:v>
                </c:pt>
                <c:pt idx="376">
                  <c:v>1027.8571428571429</c:v>
                </c:pt>
                <c:pt idx="377">
                  <c:v>1040</c:v>
                </c:pt>
                <c:pt idx="378">
                  <c:v>1075.7142857142858</c:v>
                </c:pt>
                <c:pt idx="379">
                  <c:v>1124.4285714285713</c:v>
                </c:pt>
                <c:pt idx="380">
                  <c:v>1186.4285714285713</c:v>
                </c:pt>
                <c:pt idx="381">
                  <c:v>1266.2857142857142</c:v>
                </c:pt>
                <c:pt idx="382">
                  <c:v>1294</c:v>
                </c:pt>
                <c:pt idx="383">
                  <c:v>1329</c:v>
                </c:pt>
                <c:pt idx="384">
                  <c:v>1347</c:v>
                </c:pt>
                <c:pt idx="385">
                  <c:v>1339</c:v>
                </c:pt>
                <c:pt idx="386">
                  <c:v>1328</c:v>
                </c:pt>
                <c:pt idx="387">
                  <c:v>1286.7142857142858</c:v>
                </c:pt>
                <c:pt idx="388">
                  <c:v>1254.5714285714287</c:v>
                </c:pt>
                <c:pt idx="389">
                  <c:v>1316.8571428571429</c:v>
                </c:pt>
                <c:pt idx="390">
                  <c:v>1381.7142857142858</c:v>
                </c:pt>
                <c:pt idx="391">
                  <c:v>1402.4285714285713</c:v>
                </c:pt>
                <c:pt idx="392">
                  <c:v>1437.4285714285713</c:v>
                </c:pt>
                <c:pt idx="393">
                  <c:v>1475.5714285714287</c:v>
                </c:pt>
                <c:pt idx="394">
                  <c:v>1528.8571428571429</c:v>
                </c:pt>
                <c:pt idx="395">
                  <c:v>1606.8571428571429</c:v>
                </c:pt>
                <c:pt idx="396">
                  <c:v>1710</c:v>
                </c:pt>
                <c:pt idx="397">
                  <c:v>1747.8571428571429</c:v>
                </c:pt>
                <c:pt idx="398">
                  <c:v>1766.2857142857142</c:v>
                </c:pt>
                <c:pt idx="399">
                  <c:v>1774.4285714285713</c:v>
                </c:pt>
                <c:pt idx="400">
                  <c:v>1769.7142857142858</c:v>
                </c:pt>
                <c:pt idx="401">
                  <c:v>1795.8571428571429</c:v>
                </c:pt>
                <c:pt idx="402">
                  <c:v>1850.4285714285713</c:v>
                </c:pt>
                <c:pt idx="403">
                  <c:v>1920.8571428571429</c:v>
                </c:pt>
                <c:pt idx="404">
                  <c:v>1937.1428571428571</c:v>
                </c:pt>
                <c:pt idx="405">
                  <c:v>1972.4285714285713</c:v>
                </c:pt>
                <c:pt idx="406">
                  <c:v>1999.5714285714287</c:v>
                </c:pt>
                <c:pt idx="407">
                  <c:v>2048.7142857142858</c:v>
                </c:pt>
                <c:pt idx="408">
                  <c:v>2085.2857142857142</c:v>
                </c:pt>
                <c:pt idx="409">
                  <c:v>2118.2857142857142</c:v>
                </c:pt>
                <c:pt idx="410">
                  <c:v>2199</c:v>
                </c:pt>
                <c:pt idx="411">
                  <c:v>2275.8571428571427</c:v>
                </c:pt>
                <c:pt idx="412">
                  <c:v>2309.2857142857142</c:v>
                </c:pt>
                <c:pt idx="413">
                  <c:v>2353.4285714285716</c:v>
                </c:pt>
                <c:pt idx="414">
                  <c:v>2365.8571428571427</c:v>
                </c:pt>
                <c:pt idx="415">
                  <c:v>2409.8571428571427</c:v>
                </c:pt>
                <c:pt idx="416">
                  <c:v>2659.2857142857142</c:v>
                </c:pt>
                <c:pt idx="417">
                  <c:v>2825.8571428571427</c:v>
                </c:pt>
                <c:pt idx="418">
                  <c:v>2901.7142857142858</c:v>
                </c:pt>
                <c:pt idx="419">
                  <c:v>2931.4285714285716</c:v>
                </c:pt>
                <c:pt idx="420">
                  <c:v>2968</c:v>
                </c:pt>
                <c:pt idx="421">
                  <c:v>3050.5714285714284</c:v>
                </c:pt>
                <c:pt idx="422">
                  <c:v>3076.4285714285716</c:v>
                </c:pt>
                <c:pt idx="423">
                  <c:v>2968.1428571428573</c:v>
                </c:pt>
                <c:pt idx="424">
                  <c:v>2958.5714285714284</c:v>
                </c:pt>
                <c:pt idx="425">
                  <c:v>2996.4285714285716</c:v>
                </c:pt>
                <c:pt idx="426">
                  <c:v>3060.2857142857142</c:v>
                </c:pt>
                <c:pt idx="427">
                  <c:v>3114.7142857142858</c:v>
                </c:pt>
                <c:pt idx="428">
                  <c:v>3151.8571428571427</c:v>
                </c:pt>
                <c:pt idx="429">
                  <c:v>3170.4285714285716</c:v>
                </c:pt>
                <c:pt idx="430">
                  <c:v>3133.8571428571427</c:v>
                </c:pt>
                <c:pt idx="431">
                  <c:v>3140.1428571428573</c:v>
                </c:pt>
                <c:pt idx="432">
                  <c:v>3127</c:v>
                </c:pt>
                <c:pt idx="433">
                  <c:v>3117</c:v>
                </c:pt>
                <c:pt idx="434">
                  <c:v>3082.4285714285716</c:v>
                </c:pt>
                <c:pt idx="435">
                  <c:v>3114.2857142857142</c:v>
                </c:pt>
                <c:pt idx="436">
                  <c:v>3136.7142857142858</c:v>
                </c:pt>
                <c:pt idx="437">
                  <c:v>3169.8571428571427</c:v>
                </c:pt>
                <c:pt idx="438">
                  <c:v>3196.4285714285716</c:v>
                </c:pt>
                <c:pt idx="439">
                  <c:v>3238.4285714285716</c:v>
                </c:pt>
                <c:pt idx="440">
                  <c:v>3300.1428571428573</c:v>
                </c:pt>
                <c:pt idx="441">
                  <c:v>3413.8571428571427</c:v>
                </c:pt>
                <c:pt idx="442">
                  <c:v>3470.8571428571427</c:v>
                </c:pt>
                <c:pt idx="443">
                  <c:v>3603</c:v>
                </c:pt>
                <c:pt idx="444">
                  <c:v>3776.1428571428573</c:v>
                </c:pt>
                <c:pt idx="445">
                  <c:v>3996.2857142857142</c:v>
                </c:pt>
                <c:pt idx="446">
                  <c:v>4338.4285714285716</c:v>
                </c:pt>
                <c:pt idx="447">
                  <c:v>4577.4285714285716</c:v>
                </c:pt>
                <c:pt idx="448">
                  <c:v>4568.1428571428569</c:v>
                </c:pt>
                <c:pt idx="449">
                  <c:v>4526</c:v>
                </c:pt>
                <c:pt idx="450">
                  <c:v>4472.8571428571431</c:v>
                </c:pt>
                <c:pt idx="451">
                  <c:v>4416.4285714285716</c:v>
                </c:pt>
                <c:pt idx="452">
                  <c:v>4362.2857142857147</c:v>
                </c:pt>
                <c:pt idx="453">
                  <c:v>4105</c:v>
                </c:pt>
                <c:pt idx="454">
                  <c:v>3848.2857142857142</c:v>
                </c:pt>
                <c:pt idx="455">
                  <c:v>3835.8571428571427</c:v>
                </c:pt>
                <c:pt idx="456">
                  <c:v>3832.7142857142858</c:v>
                </c:pt>
                <c:pt idx="457">
                  <c:v>3806.8571428571427</c:v>
                </c:pt>
                <c:pt idx="458">
                  <c:v>3861.1428571428573</c:v>
                </c:pt>
                <c:pt idx="459">
                  <c:v>4018</c:v>
                </c:pt>
                <c:pt idx="460">
                  <c:v>4165</c:v>
                </c:pt>
                <c:pt idx="461">
                  <c:v>4163.1428571428569</c:v>
                </c:pt>
                <c:pt idx="462">
                  <c:v>4127.4285714285716</c:v>
                </c:pt>
                <c:pt idx="463">
                  <c:v>4092.7142857142858</c:v>
                </c:pt>
                <c:pt idx="464">
                  <c:v>4075.8571428571427</c:v>
                </c:pt>
                <c:pt idx="465">
                  <c:v>4011.4285714285716</c:v>
                </c:pt>
                <c:pt idx="466">
                  <c:v>3859.4285714285716</c:v>
                </c:pt>
                <c:pt idx="467">
                  <c:v>3710.8571428571427</c:v>
                </c:pt>
                <c:pt idx="468">
                  <c:v>3708</c:v>
                </c:pt>
                <c:pt idx="469">
                  <c:v>3789.4285714285716</c:v>
                </c:pt>
                <c:pt idx="470">
                  <c:v>3924.4285714285716</c:v>
                </c:pt>
                <c:pt idx="471">
                  <c:v>4038.8571428571427</c:v>
                </c:pt>
                <c:pt idx="472">
                  <c:v>4220.7142857142853</c:v>
                </c:pt>
                <c:pt idx="473">
                  <c:v>4459.7142857142853</c:v>
                </c:pt>
                <c:pt idx="474">
                  <c:v>4598.4285714285716</c:v>
                </c:pt>
                <c:pt idx="475">
                  <c:v>4739.2857142857147</c:v>
                </c:pt>
                <c:pt idx="476">
                  <c:v>4803.1428571428569</c:v>
                </c:pt>
                <c:pt idx="477">
                  <c:v>4888.2857142857147</c:v>
                </c:pt>
                <c:pt idx="478">
                  <c:v>4941.1428571428569</c:v>
                </c:pt>
                <c:pt idx="479">
                  <c:v>5178.7142857142853</c:v>
                </c:pt>
                <c:pt idx="480">
                  <c:v>5248.7142857142853</c:v>
                </c:pt>
                <c:pt idx="481">
                  <c:v>5433.1428571428569</c:v>
                </c:pt>
                <c:pt idx="482">
                  <c:v>5418</c:v>
                </c:pt>
                <c:pt idx="483">
                  <c:v>5403.2857142857147</c:v>
                </c:pt>
                <c:pt idx="484">
                  <c:v>5342.5714285714284</c:v>
                </c:pt>
                <c:pt idx="485">
                  <c:v>5312.5714285714284</c:v>
                </c:pt>
                <c:pt idx="486">
                  <c:v>5100.8571428571431</c:v>
                </c:pt>
                <c:pt idx="487">
                  <c:v>5079.4285714285716</c:v>
                </c:pt>
                <c:pt idx="488">
                  <c:v>4958.1428571428569</c:v>
                </c:pt>
                <c:pt idx="489">
                  <c:v>4988.2857142857147</c:v>
                </c:pt>
                <c:pt idx="490">
                  <c:v>5026.8571428571431</c:v>
                </c:pt>
                <c:pt idx="491">
                  <c:v>5017.2857142857147</c:v>
                </c:pt>
                <c:pt idx="492">
                  <c:v>5027.7142857142853</c:v>
                </c:pt>
                <c:pt idx="493">
                  <c:v>5084.7142857142853</c:v>
                </c:pt>
                <c:pt idx="494">
                  <c:v>4820.4285714285716</c:v>
                </c:pt>
                <c:pt idx="495">
                  <c:v>4622.2857142857147</c:v>
                </c:pt>
                <c:pt idx="496">
                  <c:v>4492.4285714285716</c:v>
                </c:pt>
                <c:pt idx="497">
                  <c:v>4358.8571428571431</c:v>
                </c:pt>
                <c:pt idx="498">
                  <c:v>4268.1428571428569</c:v>
                </c:pt>
                <c:pt idx="499">
                  <c:v>4095</c:v>
                </c:pt>
                <c:pt idx="500">
                  <c:v>3778.1428571428573</c:v>
                </c:pt>
                <c:pt idx="501">
                  <c:v>3613.7142857142858</c:v>
                </c:pt>
                <c:pt idx="502">
                  <c:v>3514</c:v>
                </c:pt>
                <c:pt idx="503">
                  <c:v>3534.2857142857142</c:v>
                </c:pt>
                <c:pt idx="504">
                  <c:v>3501.8571428571427</c:v>
                </c:pt>
                <c:pt idx="505">
                  <c:v>3464.5714285714284</c:v>
                </c:pt>
                <c:pt idx="506">
                  <c:v>3497.8571428571427</c:v>
                </c:pt>
                <c:pt idx="507">
                  <c:v>3487.4285714285716</c:v>
                </c:pt>
                <c:pt idx="508">
                  <c:v>3505.2857142857142</c:v>
                </c:pt>
                <c:pt idx="509">
                  <c:v>3574.8571428571427</c:v>
                </c:pt>
                <c:pt idx="510">
                  <c:v>3512.5714285714284</c:v>
                </c:pt>
                <c:pt idx="511">
                  <c:v>3527.8571428571427</c:v>
                </c:pt>
                <c:pt idx="512">
                  <c:v>3563.2857142857142</c:v>
                </c:pt>
                <c:pt idx="513">
                  <c:v>3381</c:v>
                </c:pt>
                <c:pt idx="514">
                  <c:v>3029.2857142857142</c:v>
                </c:pt>
                <c:pt idx="515">
                  <c:v>2427.8571428571427</c:v>
                </c:pt>
                <c:pt idx="516">
                  <c:v>2005.2857142857142</c:v>
                </c:pt>
                <c:pt idx="517">
                  <c:v>1819.8571428571429</c:v>
                </c:pt>
                <c:pt idx="518">
                  <c:v>1637.5714285714287</c:v>
                </c:pt>
                <c:pt idx="519">
                  <c:v>1354.2857142857142</c:v>
                </c:pt>
                <c:pt idx="520">
                  <c:v>1277.4285714285713</c:v>
                </c:pt>
                <c:pt idx="521">
                  <c:v>1266.4285714285713</c:v>
                </c:pt>
                <c:pt idx="522">
                  <c:v>1282.7142857142858</c:v>
                </c:pt>
                <c:pt idx="523">
                  <c:v>1262.1428571428571</c:v>
                </c:pt>
                <c:pt idx="524">
                  <c:v>1222</c:v>
                </c:pt>
                <c:pt idx="525">
                  <c:v>1126.8571428571429</c:v>
                </c:pt>
                <c:pt idx="526">
                  <c:v>1078.8571428571429</c:v>
                </c:pt>
                <c:pt idx="527">
                  <c:v>1027.7142857142858</c:v>
                </c:pt>
                <c:pt idx="528">
                  <c:v>980.14285714285711</c:v>
                </c:pt>
                <c:pt idx="529">
                  <c:v>908</c:v>
                </c:pt>
                <c:pt idx="530">
                  <c:v>882.28571428571433</c:v>
                </c:pt>
                <c:pt idx="531">
                  <c:v>869.28571428571433</c:v>
                </c:pt>
                <c:pt idx="532">
                  <c:v>865.57142857142856</c:v>
                </c:pt>
                <c:pt idx="533">
                  <c:v>857.85714285714289</c:v>
                </c:pt>
                <c:pt idx="534">
                  <c:v>865.42857142857144</c:v>
                </c:pt>
                <c:pt idx="535">
                  <c:v>872.42857142857144</c:v>
                </c:pt>
                <c:pt idx="536">
                  <c:v>881.71428571428567</c:v>
                </c:pt>
                <c:pt idx="537">
                  <c:v>881.28571428571433</c:v>
                </c:pt>
                <c:pt idx="538">
                  <c:v>883.57142857142856</c:v>
                </c:pt>
                <c:pt idx="539">
                  <c:v>901.14285714285711</c:v>
                </c:pt>
                <c:pt idx="540">
                  <c:v>970.71428571428567</c:v>
                </c:pt>
                <c:pt idx="541">
                  <c:v>1080.4285714285713</c:v>
                </c:pt>
                <c:pt idx="542">
                  <c:v>1234.5714285714287</c:v>
                </c:pt>
                <c:pt idx="543">
                  <c:v>1473.4285714285713</c:v>
                </c:pt>
                <c:pt idx="544">
                  <c:v>1645.4285714285713</c:v>
                </c:pt>
                <c:pt idx="545">
                  <c:v>1729.2857142857142</c:v>
                </c:pt>
                <c:pt idx="546">
                  <c:v>1821.7142857142858</c:v>
                </c:pt>
                <c:pt idx="547">
                  <c:v>1886.8571428571429</c:v>
                </c:pt>
                <c:pt idx="548">
                  <c:v>1926.1428571428571</c:v>
                </c:pt>
                <c:pt idx="549">
                  <c:v>2047.8571428571429</c:v>
                </c:pt>
                <c:pt idx="550">
                  <c:v>2151</c:v>
                </c:pt>
                <c:pt idx="551">
                  <c:v>2236.1428571428573</c:v>
                </c:pt>
                <c:pt idx="552">
                  <c:v>2297.2857142857142</c:v>
                </c:pt>
                <c:pt idx="553">
                  <c:v>2349.2857142857142</c:v>
                </c:pt>
                <c:pt idx="554">
                  <c:v>2326.2857142857142</c:v>
                </c:pt>
                <c:pt idx="555">
                  <c:v>2255.2857142857142</c:v>
                </c:pt>
                <c:pt idx="556">
                  <c:v>2077.2857142857142</c:v>
                </c:pt>
                <c:pt idx="557">
                  <c:v>1840.8571428571429</c:v>
                </c:pt>
                <c:pt idx="558">
                  <c:v>1646.2857142857142</c:v>
                </c:pt>
                <c:pt idx="559">
                  <c:v>1563.4285714285713</c:v>
                </c:pt>
                <c:pt idx="560">
                  <c:v>1476</c:v>
                </c:pt>
                <c:pt idx="561">
                  <c:v>1456.1428571428571</c:v>
                </c:pt>
                <c:pt idx="562">
                  <c:v>1517.8571428571429</c:v>
                </c:pt>
                <c:pt idx="563">
                  <c:v>1765</c:v>
                </c:pt>
                <c:pt idx="564">
                  <c:v>1716.5714285714287</c:v>
                </c:pt>
                <c:pt idx="565">
                  <c:v>1692.8571428571429</c:v>
                </c:pt>
                <c:pt idx="566">
                  <c:v>1659</c:v>
                </c:pt>
                <c:pt idx="567">
                  <c:v>1636.5714285714287</c:v>
                </c:pt>
                <c:pt idx="568">
                  <c:v>1600.2857142857142</c:v>
                </c:pt>
                <c:pt idx="569">
                  <c:v>1625.4285714285713</c:v>
                </c:pt>
                <c:pt idx="570">
                  <c:v>1405.4285714285713</c:v>
                </c:pt>
                <c:pt idx="571">
                  <c:v>1315.2857142857142</c:v>
                </c:pt>
                <c:pt idx="572">
                  <c:v>1287.7142857142858</c:v>
                </c:pt>
                <c:pt idx="573">
                  <c:v>1279</c:v>
                </c:pt>
                <c:pt idx="574">
                  <c:v>1249</c:v>
                </c:pt>
                <c:pt idx="575">
                  <c:v>1212</c:v>
                </c:pt>
                <c:pt idx="576">
                  <c:v>1050</c:v>
                </c:pt>
                <c:pt idx="577">
                  <c:v>915.28571428571433</c:v>
                </c:pt>
                <c:pt idx="578">
                  <c:v>934.85714285714289</c:v>
                </c:pt>
                <c:pt idx="579">
                  <c:v>925.28571428571433</c:v>
                </c:pt>
                <c:pt idx="580">
                  <c:v>897.42857142857144</c:v>
                </c:pt>
                <c:pt idx="581">
                  <c:v>869.42857142857144</c:v>
                </c:pt>
                <c:pt idx="582">
                  <c:v>858.71428571428567</c:v>
                </c:pt>
                <c:pt idx="583">
                  <c:v>850.42857142857144</c:v>
                </c:pt>
                <c:pt idx="584">
                  <c:v>829.57142857142856</c:v>
                </c:pt>
                <c:pt idx="585">
                  <c:v>793.71428571428567</c:v>
                </c:pt>
                <c:pt idx="586">
                  <c:v>770.42857142857144</c:v>
                </c:pt>
                <c:pt idx="587">
                  <c:v>763.28571428571433</c:v>
                </c:pt>
                <c:pt idx="588">
                  <c:v>758.71428571428567</c:v>
                </c:pt>
                <c:pt idx="589">
                  <c:v>742.57142857142856</c:v>
                </c:pt>
                <c:pt idx="590">
                  <c:v>717.28571428571433</c:v>
                </c:pt>
                <c:pt idx="591">
                  <c:v>705.42857142857144</c:v>
                </c:pt>
                <c:pt idx="592">
                  <c:v>705.57142857142856</c:v>
                </c:pt>
                <c:pt idx="593">
                  <c:v>719.42857142857144</c:v>
                </c:pt>
                <c:pt idx="594">
                  <c:v>725</c:v>
                </c:pt>
                <c:pt idx="595">
                  <c:v>728.28571428571433</c:v>
                </c:pt>
                <c:pt idx="596">
                  <c:v>733.14285714285711</c:v>
                </c:pt>
                <c:pt idx="597">
                  <c:v>748.71428571428567</c:v>
                </c:pt>
                <c:pt idx="598">
                  <c:v>766.42857142857144</c:v>
                </c:pt>
                <c:pt idx="599">
                  <c:v>798.71428571428567</c:v>
                </c:pt>
                <c:pt idx="600">
                  <c:v>792.85714285714289</c:v>
                </c:pt>
                <c:pt idx="601">
                  <c:v>788.71428571428567</c:v>
                </c:pt>
                <c:pt idx="602">
                  <c:v>796.28571428571433</c:v>
                </c:pt>
                <c:pt idx="603">
                  <c:v>821.71428571428567</c:v>
                </c:pt>
                <c:pt idx="604">
                  <c:v>855</c:v>
                </c:pt>
                <c:pt idx="605">
                  <c:v>879.14285714285711</c:v>
                </c:pt>
                <c:pt idx="606">
                  <c:v>921</c:v>
                </c:pt>
                <c:pt idx="607">
                  <c:v>976.85714285714289</c:v>
                </c:pt>
                <c:pt idx="608">
                  <c:v>1166.8571428571429</c:v>
                </c:pt>
                <c:pt idx="609">
                  <c:v>1233</c:v>
                </c:pt>
                <c:pt idx="610">
                  <c:v>1281.5714285714287</c:v>
                </c:pt>
                <c:pt idx="611">
                  <c:v>1295.1428571428571</c:v>
                </c:pt>
                <c:pt idx="612">
                  <c:v>1329.8571428571429</c:v>
                </c:pt>
                <c:pt idx="613">
                  <c:v>1353.4285714285713</c:v>
                </c:pt>
                <c:pt idx="614">
                  <c:v>1370.2857142857142</c:v>
                </c:pt>
                <c:pt idx="615">
                  <c:v>1236.4285714285713</c:v>
                </c:pt>
                <c:pt idx="616">
                  <c:v>1218</c:v>
                </c:pt>
                <c:pt idx="617">
                  <c:v>1207.5714285714287</c:v>
                </c:pt>
                <c:pt idx="618">
                  <c:v>1205.8571428571429</c:v>
                </c:pt>
                <c:pt idx="619">
                  <c:v>1198</c:v>
                </c:pt>
                <c:pt idx="620">
                  <c:v>1188.7142857142858</c:v>
                </c:pt>
                <c:pt idx="621">
                  <c:v>1155.5714285714287</c:v>
                </c:pt>
                <c:pt idx="622">
                  <c:v>1139.8571428571429</c:v>
                </c:pt>
                <c:pt idx="623">
                  <c:v>1127.8571428571429</c:v>
                </c:pt>
                <c:pt idx="624">
                  <c:v>1106.1428571428571</c:v>
                </c:pt>
                <c:pt idx="625">
                  <c:v>1087.4285714285713</c:v>
                </c:pt>
                <c:pt idx="626">
                  <c:v>1095.5714285714287</c:v>
                </c:pt>
                <c:pt idx="627">
                  <c:v>1099</c:v>
                </c:pt>
                <c:pt idx="628">
                  <c:v>1111</c:v>
                </c:pt>
                <c:pt idx="629">
                  <c:v>1123</c:v>
                </c:pt>
                <c:pt idx="630">
                  <c:v>1121.5714285714287</c:v>
                </c:pt>
                <c:pt idx="631">
                  <c:v>1150.7142857142858</c:v>
                </c:pt>
                <c:pt idx="632">
                  <c:v>1172.7142857142858</c:v>
                </c:pt>
                <c:pt idx="633">
                  <c:v>1203.8571428571429</c:v>
                </c:pt>
                <c:pt idx="634">
                  <c:v>1216.5714285714287</c:v>
                </c:pt>
                <c:pt idx="635">
                  <c:v>1225.7142857142858</c:v>
                </c:pt>
                <c:pt idx="636">
                  <c:v>1215.8571428571429</c:v>
                </c:pt>
                <c:pt idx="637">
                  <c:v>1227.8571428571429</c:v>
                </c:pt>
                <c:pt idx="638">
                  <c:v>1224.1428571428571</c:v>
                </c:pt>
                <c:pt idx="639">
                  <c:v>1220.8571428571429</c:v>
                </c:pt>
                <c:pt idx="640">
                  <c:v>1207.2857142857142</c:v>
                </c:pt>
                <c:pt idx="641">
                  <c:v>1223.8571428571429</c:v>
                </c:pt>
                <c:pt idx="642">
                  <c:v>1249.8571428571429</c:v>
                </c:pt>
                <c:pt idx="643">
                  <c:v>1259.7142857142858</c:v>
                </c:pt>
                <c:pt idx="644">
                  <c:v>1261.4285714285713</c:v>
                </c:pt>
                <c:pt idx="645">
                  <c:v>1281.2857142857142</c:v>
                </c:pt>
                <c:pt idx="646">
                  <c:v>1305.1428571428571</c:v>
                </c:pt>
                <c:pt idx="647">
                  <c:v>1334.5714285714287</c:v>
                </c:pt>
                <c:pt idx="648">
                  <c:v>1371</c:v>
                </c:pt>
                <c:pt idx="649">
                  <c:v>1392.4285714285713</c:v>
                </c:pt>
                <c:pt idx="650">
                  <c:v>1534.8571428571429</c:v>
                </c:pt>
                <c:pt idx="651">
                  <c:v>1565.7142857142858</c:v>
                </c:pt>
                <c:pt idx="652">
                  <c:v>1556</c:v>
                </c:pt>
                <c:pt idx="653">
                  <c:v>1570.7142857142858</c:v>
                </c:pt>
                <c:pt idx="654">
                  <c:v>1585.8571428571429</c:v>
                </c:pt>
                <c:pt idx="655">
                  <c:v>1603.8571428571429</c:v>
                </c:pt>
                <c:pt idx="656">
                  <c:v>1617.7142857142858</c:v>
                </c:pt>
                <c:pt idx="657">
                  <c:v>1513.5714285714287</c:v>
                </c:pt>
                <c:pt idx="658">
                  <c:v>1593.7142857142858</c:v>
                </c:pt>
                <c:pt idx="659">
                  <c:v>1729.5714285714287</c:v>
                </c:pt>
                <c:pt idx="660">
                  <c:v>1911.1428571428571</c:v>
                </c:pt>
                <c:pt idx="661">
                  <c:v>2061.2857142857142</c:v>
                </c:pt>
                <c:pt idx="662">
                  <c:v>2199.1428571428573</c:v>
                </c:pt>
                <c:pt idx="663">
                  <c:v>2385.8571428571427</c:v>
                </c:pt>
                <c:pt idx="664">
                  <c:v>2600.8571428571427</c:v>
                </c:pt>
                <c:pt idx="665">
                  <c:v>2612.5714285714284</c:v>
                </c:pt>
                <c:pt idx="666">
                  <c:v>2595.8571428571427</c:v>
                </c:pt>
                <c:pt idx="667">
                  <c:v>2490.4285714285716</c:v>
                </c:pt>
                <c:pt idx="668">
                  <c:v>2444.5714285714284</c:v>
                </c:pt>
                <c:pt idx="669">
                  <c:v>2448.4285714285716</c:v>
                </c:pt>
                <c:pt idx="670">
                  <c:v>2378.1428571428573</c:v>
                </c:pt>
                <c:pt idx="671">
                  <c:v>2347</c:v>
                </c:pt>
                <c:pt idx="672">
                  <c:v>2384</c:v>
                </c:pt>
                <c:pt idx="673">
                  <c:v>2394.1428571428573</c:v>
                </c:pt>
                <c:pt idx="674">
                  <c:v>2489.8571428571427</c:v>
                </c:pt>
                <c:pt idx="675">
                  <c:v>2612.8571428571427</c:v>
                </c:pt>
                <c:pt idx="676">
                  <c:v>2856.2857142857142</c:v>
                </c:pt>
                <c:pt idx="677">
                  <c:v>2952.5714285714284</c:v>
                </c:pt>
                <c:pt idx="678">
                  <c:v>2869.8571428571427</c:v>
                </c:pt>
                <c:pt idx="679">
                  <c:v>2845</c:v>
                </c:pt>
                <c:pt idx="680">
                  <c:v>2832.7142857142858</c:v>
                </c:pt>
                <c:pt idx="681">
                  <c:v>2784.2857142857142</c:v>
                </c:pt>
                <c:pt idx="682">
                  <c:v>2814.1428571428573</c:v>
                </c:pt>
                <c:pt idx="683">
                  <c:v>2830.7142857142858</c:v>
                </c:pt>
                <c:pt idx="684">
                  <c:v>2813.8571428571427</c:v>
                </c:pt>
                <c:pt idx="685">
                  <c:v>2823.7142857142858</c:v>
                </c:pt>
                <c:pt idx="686">
                  <c:v>2817.5714285714284</c:v>
                </c:pt>
                <c:pt idx="687">
                  <c:v>2827.4285714285716</c:v>
                </c:pt>
                <c:pt idx="688">
                  <c:v>2823.8571428571427</c:v>
                </c:pt>
                <c:pt idx="689">
                  <c:v>2830.1428571428573</c:v>
                </c:pt>
                <c:pt idx="690">
                  <c:v>2825.5714285714284</c:v>
                </c:pt>
                <c:pt idx="691">
                  <c:v>3024.8571428571427</c:v>
                </c:pt>
                <c:pt idx="692">
                  <c:v>3144.5714285714284</c:v>
                </c:pt>
                <c:pt idx="693">
                  <c:v>3178.4285714285716</c:v>
                </c:pt>
                <c:pt idx="694">
                  <c:v>3201.7142857142858</c:v>
                </c:pt>
                <c:pt idx="695">
                  <c:v>3199.7142857142858</c:v>
                </c:pt>
                <c:pt idx="696">
                  <c:v>3151.1428571428573</c:v>
                </c:pt>
                <c:pt idx="697">
                  <c:v>3089.2857142857142</c:v>
                </c:pt>
                <c:pt idx="698">
                  <c:v>2931.8571428571427</c:v>
                </c:pt>
                <c:pt idx="699">
                  <c:v>2812.8571428571427</c:v>
                </c:pt>
                <c:pt idx="700">
                  <c:v>2802.5714285714284</c:v>
                </c:pt>
                <c:pt idx="701">
                  <c:v>2788.5714285714284</c:v>
                </c:pt>
                <c:pt idx="702">
                  <c:v>2956.5714285714284</c:v>
                </c:pt>
                <c:pt idx="703">
                  <c:v>3044</c:v>
                </c:pt>
                <c:pt idx="704">
                  <c:v>3204.5714285714284</c:v>
                </c:pt>
                <c:pt idx="705">
                  <c:v>3259.2857142857142</c:v>
                </c:pt>
                <c:pt idx="706">
                  <c:v>3402.1428571428573</c:v>
                </c:pt>
                <c:pt idx="707">
                  <c:v>3491.2857142857142</c:v>
                </c:pt>
                <c:pt idx="708">
                  <c:v>3608</c:v>
                </c:pt>
                <c:pt idx="709">
                  <c:v>3603.5714285714284</c:v>
                </c:pt>
                <c:pt idx="710">
                  <c:v>3855.5714285714284</c:v>
                </c:pt>
                <c:pt idx="711">
                  <c:v>4148.4285714285716</c:v>
                </c:pt>
                <c:pt idx="712">
                  <c:v>4426.4285714285716</c:v>
                </c:pt>
                <c:pt idx="713">
                  <c:v>4426.4285714285716</c:v>
                </c:pt>
                <c:pt idx="714">
                  <c:v>4473.1428571428569</c:v>
                </c:pt>
                <c:pt idx="715">
                  <c:v>4527.5714285714284</c:v>
                </c:pt>
                <c:pt idx="716">
                  <c:v>4601.4285714285716</c:v>
                </c:pt>
                <c:pt idx="717">
                  <c:v>4687</c:v>
                </c:pt>
                <c:pt idx="718">
                  <c:v>4914.2857142857147</c:v>
                </c:pt>
                <c:pt idx="719">
                  <c:v>5269.2857142857147</c:v>
                </c:pt>
                <c:pt idx="720">
                  <c:v>5602</c:v>
                </c:pt>
                <c:pt idx="721">
                  <c:v>5691.1428571428569</c:v>
                </c:pt>
                <c:pt idx="722">
                  <c:v>5750.5714285714284</c:v>
                </c:pt>
                <c:pt idx="723">
                  <c:v>5752.1428571428569</c:v>
                </c:pt>
                <c:pt idx="724">
                  <c:v>5626.2857142857147</c:v>
                </c:pt>
                <c:pt idx="725">
                  <c:v>5338.2857142857147</c:v>
                </c:pt>
                <c:pt idx="726">
                  <c:v>4875.4285714285716</c:v>
                </c:pt>
                <c:pt idx="727">
                  <c:v>4529.8571428571431</c:v>
                </c:pt>
                <c:pt idx="728">
                  <c:v>4451.8571428571431</c:v>
                </c:pt>
                <c:pt idx="729">
                  <c:v>4378.5714285714284</c:v>
                </c:pt>
                <c:pt idx="730">
                  <c:v>4334.8571428571431</c:v>
                </c:pt>
                <c:pt idx="731">
                  <c:v>4340.8571428571431</c:v>
                </c:pt>
                <c:pt idx="732">
                  <c:v>4367.4285714285716</c:v>
                </c:pt>
                <c:pt idx="733">
                  <c:v>4536.5714285714284</c:v>
                </c:pt>
                <c:pt idx="734">
                  <c:v>4575.1428571428569</c:v>
                </c:pt>
                <c:pt idx="735">
                  <c:v>4640.2857142857147</c:v>
                </c:pt>
                <c:pt idx="736">
                  <c:v>4794.8571428571431</c:v>
                </c:pt>
                <c:pt idx="737">
                  <c:v>4902.8571428571431</c:v>
                </c:pt>
                <c:pt idx="738">
                  <c:v>5187.1428571428569</c:v>
                </c:pt>
                <c:pt idx="739">
                  <c:v>5224.1428571428569</c:v>
                </c:pt>
                <c:pt idx="740">
                  <c:v>5059</c:v>
                </c:pt>
                <c:pt idx="741">
                  <c:v>5117</c:v>
                </c:pt>
                <c:pt idx="742">
                  <c:v>5163.4285714285716</c:v>
                </c:pt>
                <c:pt idx="743">
                  <c:v>5089.8571428571431</c:v>
                </c:pt>
                <c:pt idx="744">
                  <c:v>5082.1428571428569</c:v>
                </c:pt>
                <c:pt idx="745">
                  <c:v>4886.2857142857147</c:v>
                </c:pt>
                <c:pt idx="746">
                  <c:v>5063.5714285714284</c:v>
                </c:pt>
                <c:pt idx="747">
                  <c:v>5279</c:v>
                </c:pt>
                <c:pt idx="748">
                  <c:v>5272.2857142857147</c:v>
                </c:pt>
                <c:pt idx="749">
                  <c:v>5358.7142857142853</c:v>
                </c:pt>
                <c:pt idx="750">
                  <c:v>5390.7142857142853</c:v>
                </c:pt>
                <c:pt idx="751">
                  <c:v>5392.8571428571431</c:v>
                </c:pt>
                <c:pt idx="752">
                  <c:v>5400</c:v>
                </c:pt>
                <c:pt idx="753">
                  <c:v>5538.2857142857147</c:v>
                </c:pt>
                <c:pt idx="754">
                  <c:v>5547.5714285714284</c:v>
                </c:pt>
                <c:pt idx="755">
                  <c:v>5561.7142857142853</c:v>
                </c:pt>
                <c:pt idx="756">
                  <c:v>5492.8571428571431</c:v>
                </c:pt>
                <c:pt idx="757">
                  <c:v>5571.2857142857147</c:v>
                </c:pt>
                <c:pt idx="758">
                  <c:v>5574.2857142857147</c:v>
                </c:pt>
                <c:pt idx="759">
                  <c:v>5520.1428571428569</c:v>
                </c:pt>
                <c:pt idx="760">
                  <c:v>5153.5714285714284</c:v>
                </c:pt>
                <c:pt idx="761">
                  <c:v>5404.1428571428569</c:v>
                </c:pt>
                <c:pt idx="762">
                  <c:v>5636.8571428571431</c:v>
                </c:pt>
                <c:pt idx="763">
                  <c:v>5572.1428571428569</c:v>
                </c:pt>
                <c:pt idx="764">
                  <c:v>5424.7142857142853</c:v>
                </c:pt>
                <c:pt idx="765">
                  <c:v>5364.7142857142853</c:v>
                </c:pt>
                <c:pt idx="766">
                  <c:v>5339.1428571428569</c:v>
                </c:pt>
                <c:pt idx="767">
                  <c:v>5506.7142857142853</c:v>
                </c:pt>
                <c:pt idx="768">
                  <c:v>5206.7142857142853</c:v>
                </c:pt>
                <c:pt idx="769">
                  <c:v>4995.8571428571431</c:v>
                </c:pt>
                <c:pt idx="770">
                  <c:v>5179.1428571428569</c:v>
                </c:pt>
                <c:pt idx="771">
                  <c:v>5372.1428571428569</c:v>
                </c:pt>
                <c:pt idx="772">
                  <c:v>5551.2857142857147</c:v>
                </c:pt>
                <c:pt idx="773">
                  <c:v>5651.4285714285716</c:v>
                </c:pt>
                <c:pt idx="774">
                  <c:v>5655.4285714285716</c:v>
                </c:pt>
                <c:pt idx="775">
                  <c:v>5838</c:v>
                </c:pt>
                <c:pt idx="776">
                  <c:v>5811.1428571428569</c:v>
                </c:pt>
                <c:pt idx="777">
                  <c:v>5672.2857142857147</c:v>
                </c:pt>
                <c:pt idx="778">
                  <c:v>5629.8571428571431</c:v>
                </c:pt>
                <c:pt idx="779">
                  <c:v>5536.8571428571431</c:v>
                </c:pt>
                <c:pt idx="780">
                  <c:v>5538.8571428571431</c:v>
                </c:pt>
                <c:pt idx="781">
                  <c:v>5602.1428571428569</c:v>
                </c:pt>
                <c:pt idx="782">
                  <c:v>5447.4285714285716</c:v>
                </c:pt>
                <c:pt idx="783">
                  <c:v>5441.5714285714284</c:v>
                </c:pt>
                <c:pt idx="784">
                  <c:v>5433</c:v>
                </c:pt>
                <c:pt idx="785">
                  <c:v>5349.1428571428569</c:v>
                </c:pt>
                <c:pt idx="786">
                  <c:v>5365.4285714285716</c:v>
                </c:pt>
                <c:pt idx="787">
                  <c:v>5390</c:v>
                </c:pt>
                <c:pt idx="788">
                  <c:v>5460.4285714285716</c:v>
                </c:pt>
                <c:pt idx="789">
                  <c:v>5497.7142857142853</c:v>
                </c:pt>
                <c:pt idx="790">
                  <c:v>5562.8571428571431</c:v>
                </c:pt>
                <c:pt idx="791">
                  <c:v>5589.7142857142853</c:v>
                </c:pt>
                <c:pt idx="792">
                  <c:v>5584.4285714285716</c:v>
                </c:pt>
                <c:pt idx="793">
                  <c:v>5570.2857142857147</c:v>
                </c:pt>
                <c:pt idx="794">
                  <c:v>5462.7142857142853</c:v>
                </c:pt>
                <c:pt idx="795">
                  <c:v>5215.2857142857147</c:v>
                </c:pt>
                <c:pt idx="796">
                  <c:v>5119.8571428571431</c:v>
                </c:pt>
                <c:pt idx="797">
                  <c:v>5042.7142857142853</c:v>
                </c:pt>
                <c:pt idx="798">
                  <c:v>5000.1428571428569</c:v>
                </c:pt>
                <c:pt idx="799">
                  <c:v>4985.7142857142853</c:v>
                </c:pt>
                <c:pt idx="800">
                  <c:v>4945.8571428571431</c:v>
                </c:pt>
                <c:pt idx="801">
                  <c:v>4952.1428571428569</c:v>
                </c:pt>
                <c:pt idx="802">
                  <c:v>5044.5714285714284</c:v>
                </c:pt>
                <c:pt idx="803">
                  <c:v>5074</c:v>
                </c:pt>
                <c:pt idx="804">
                  <c:v>5112.5714285714284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17B6-4818-925F-A1C544F085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7514272"/>
        <c:axId val="277514832"/>
      </c:lineChart>
      <c:dateAx>
        <c:axId val="277514272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7514832"/>
        <c:crossesAt val="0"/>
        <c:auto val="0"/>
        <c:lblOffset val="100"/>
        <c:baseTimeUnit val="days"/>
      </c:dateAx>
      <c:valAx>
        <c:axId val="2775148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/>
                  <a:t>Decomps</a:t>
                </a:r>
              </a:p>
            </c:rich>
          </c:tx>
          <c:layout>
            <c:manualLayout>
              <c:xMode val="edge"/>
              <c:yMode val="edge"/>
              <c:x val="3.8435345703054992E-2"/>
              <c:y val="0.386098261534172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7514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irst time activations from model</a:t>
            </a:r>
            <a:endParaRPr lang="en-IN"/>
          </a:p>
        </c:rich>
      </c:tx>
      <c:layout>
        <c:manualLayout>
          <c:xMode val="edge"/>
          <c:yMode val="edge"/>
          <c:x val="0.46789810466706799"/>
          <c:y val="5.91848798045087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758461163752039"/>
          <c:y val="0.10587154523057826"/>
          <c:w val="0.86370781389216877"/>
          <c:h val="0.70497627599232382"/>
        </c:manualLayout>
      </c:layout>
      <c:barChart>
        <c:barDir val="col"/>
        <c:grouping val="stacked"/>
        <c:varyColors val="0"/>
        <c:ser>
          <c:idx val="10"/>
          <c:order val="10"/>
          <c:tx>
            <c:strRef>
              <c:f>Sheet1!$L$1</c:f>
              <c:strCache>
                <c:ptCount val="1"/>
                <c:pt idx="0">
                  <c:v>Other Media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 w="28575">
              <a:solidFill>
                <a:schemeClr val="bg1">
                  <a:lumMod val="50000"/>
                </a:schemeClr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L$2:$L$117</c:f>
              <c:numCache>
                <c:formatCode>#,##0</c:formatCode>
                <c:ptCount val="116"/>
                <c:pt idx="0">
                  <c:v>217.87187280000001</c:v>
                </c:pt>
                <c:pt idx="1">
                  <c:v>517.60616789999995</c:v>
                </c:pt>
                <c:pt idx="2">
                  <c:v>559.91002760000003</c:v>
                </c:pt>
                <c:pt idx="3">
                  <c:v>298.8763945</c:v>
                </c:pt>
                <c:pt idx="4">
                  <c:v>69.106718200000003</c:v>
                </c:pt>
                <c:pt idx="5">
                  <c:v>43.688061200000007</c:v>
                </c:pt>
                <c:pt idx="6">
                  <c:v>43.688061200000007</c:v>
                </c:pt>
                <c:pt idx="7">
                  <c:v>38.395125399999998</c:v>
                </c:pt>
                <c:pt idx="8">
                  <c:v>20.087454699999999</c:v>
                </c:pt>
                <c:pt idx="9">
                  <c:v>15.806402899999998</c:v>
                </c:pt>
                <c:pt idx="10">
                  <c:v>15.690334799999999</c:v>
                </c:pt>
                <c:pt idx="11">
                  <c:v>17.023579599999998</c:v>
                </c:pt>
                <c:pt idx="12">
                  <c:v>67.322615999999996</c:v>
                </c:pt>
                <c:pt idx="13">
                  <c:v>97.197411299999999</c:v>
                </c:pt>
                <c:pt idx="14">
                  <c:v>99.77360259999999</c:v>
                </c:pt>
                <c:pt idx="15">
                  <c:v>99.77360259999999</c:v>
                </c:pt>
                <c:pt idx="16">
                  <c:v>118.27550890000001</c:v>
                </c:pt>
                <c:pt idx="17">
                  <c:v>143.72925759999998</c:v>
                </c:pt>
                <c:pt idx="18">
                  <c:v>147.32174519999998</c:v>
                </c:pt>
                <c:pt idx="19">
                  <c:v>147.32174519999998</c:v>
                </c:pt>
                <c:pt idx="20">
                  <c:v>142.93216050000001</c:v>
                </c:pt>
                <c:pt idx="21">
                  <c:v>116.48698570000002</c:v>
                </c:pt>
                <c:pt idx="22">
                  <c:v>108.30866690000001</c:v>
                </c:pt>
                <c:pt idx="23">
                  <c:v>107.9383564</c:v>
                </c:pt>
                <c:pt idx="24">
                  <c:v>109.8009366</c:v>
                </c:pt>
                <c:pt idx="25">
                  <c:v>180.07009680000002</c:v>
                </c:pt>
                <c:pt idx="26">
                  <c:v>221.80602139999999</c:v>
                </c:pt>
                <c:pt idx="27">
                  <c:v>225.40503299999997</c:v>
                </c:pt>
                <c:pt idx="28">
                  <c:v>225.40503299999997</c:v>
                </c:pt>
                <c:pt idx="29">
                  <c:v>201.0774687</c:v>
                </c:pt>
                <c:pt idx="30">
                  <c:v>148.8636061</c:v>
                </c:pt>
                <c:pt idx="31">
                  <c:v>139.439761</c:v>
                </c:pt>
                <c:pt idx="32">
                  <c:v>139.3343581</c:v>
                </c:pt>
                <c:pt idx="33">
                  <c:v>133.292958</c:v>
                </c:pt>
                <c:pt idx="34">
                  <c:v>58.696382899999996</c:v>
                </c:pt>
                <c:pt idx="35">
                  <c:v>27.317472600000002</c:v>
                </c:pt>
                <c:pt idx="36">
                  <c:v>61.581090100000004</c:v>
                </c:pt>
                <c:pt idx="37">
                  <c:v>118.3353698</c:v>
                </c:pt>
                <c:pt idx="38">
                  <c:v>255.17977329999999</c:v>
                </c:pt>
                <c:pt idx="39">
                  <c:v>373.10985160000001</c:v>
                </c:pt>
                <c:pt idx="40">
                  <c:v>192.17676950000003</c:v>
                </c:pt>
                <c:pt idx="41">
                  <c:v>46.267796199999992</c:v>
                </c:pt>
                <c:pt idx="42">
                  <c:v>28.810148200000004</c:v>
                </c:pt>
                <c:pt idx="43">
                  <c:v>4.4453364999999998</c:v>
                </c:pt>
                <c:pt idx="44">
                  <c:v>4.91698E-2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45.558294600000004</c:v>
                </c:pt>
                <c:pt idx="52">
                  <c:v>85.660079499999995</c:v>
                </c:pt>
                <c:pt idx="53">
                  <c:v>90.096407100000022</c:v>
                </c:pt>
                <c:pt idx="54">
                  <c:v>90.096407100000022</c:v>
                </c:pt>
                <c:pt idx="55">
                  <c:v>116.94087570000001</c:v>
                </c:pt>
                <c:pt idx="56">
                  <c:v>174.55673040000002</c:v>
                </c:pt>
                <c:pt idx="57">
                  <c:v>184.95555619999999</c:v>
                </c:pt>
                <c:pt idx="58">
                  <c:v>185.07186389999998</c:v>
                </c:pt>
                <c:pt idx="59">
                  <c:v>201.91086479999998</c:v>
                </c:pt>
                <c:pt idx="60">
                  <c:v>409.83150740000002</c:v>
                </c:pt>
                <c:pt idx="61">
                  <c:v>497.29293739999997</c:v>
                </c:pt>
                <c:pt idx="62">
                  <c:v>551.63272329999995</c:v>
                </c:pt>
                <c:pt idx="63">
                  <c:v>759.03874429999996</c:v>
                </c:pt>
                <c:pt idx="64">
                  <c:v>1058.4174945</c:v>
                </c:pt>
                <c:pt idx="65">
                  <c:v>1813.5204222999998</c:v>
                </c:pt>
                <c:pt idx="66">
                  <c:v>2332.3356873000002</c:v>
                </c:pt>
                <c:pt idx="67">
                  <c:v>1853.0792633999999</c:v>
                </c:pt>
                <c:pt idx="68">
                  <c:v>1770.7378924</c:v>
                </c:pt>
                <c:pt idx="69">
                  <c:v>1827.6248099999998</c:v>
                </c:pt>
                <c:pt idx="70">
                  <c:v>1649.0510619000001</c:v>
                </c:pt>
                <c:pt idx="71">
                  <c:v>1149.3030069000001</c:v>
                </c:pt>
                <c:pt idx="72">
                  <c:v>1521.6874640000003</c:v>
                </c:pt>
                <c:pt idx="73">
                  <c:v>866.03270050000003</c:v>
                </c:pt>
                <c:pt idx="74">
                  <c:v>289.69708980000007</c:v>
                </c:pt>
                <c:pt idx="75">
                  <c:v>89.165254399999995</c:v>
                </c:pt>
                <c:pt idx="76">
                  <c:v>29.096655899999998</c:v>
                </c:pt>
                <c:pt idx="77">
                  <c:v>16.5306122</c:v>
                </c:pt>
                <c:pt idx="78">
                  <c:v>567.61728670000002</c:v>
                </c:pt>
                <c:pt idx="79">
                  <c:v>657.69425349999995</c:v>
                </c:pt>
                <c:pt idx="80">
                  <c:v>411.24535410000004</c:v>
                </c:pt>
                <c:pt idx="81">
                  <c:v>432.45822580000004</c:v>
                </c:pt>
                <c:pt idx="82">
                  <c:v>358.40237500000001</c:v>
                </c:pt>
                <c:pt idx="83">
                  <c:v>70.175837499999986</c:v>
                </c:pt>
                <c:pt idx="84">
                  <c:v>2.0766616000000004</c:v>
                </c:pt>
                <c:pt idx="85">
                  <c:v>0</c:v>
                </c:pt>
                <c:pt idx="86">
                  <c:v>16.045693</c:v>
                </c:pt>
                <c:pt idx="87">
                  <c:v>51.329895499999999</c:v>
                </c:pt>
                <c:pt idx="88">
                  <c:v>59.558498700000001</c:v>
                </c:pt>
                <c:pt idx="89">
                  <c:v>60.680213899999998</c:v>
                </c:pt>
                <c:pt idx="90">
                  <c:v>80.41725670000001</c:v>
                </c:pt>
                <c:pt idx="91">
                  <c:v>94.697091499999999</c:v>
                </c:pt>
                <c:pt idx="92">
                  <c:v>145.42021619999997</c:v>
                </c:pt>
                <c:pt idx="93">
                  <c:v>219.69268089999997</c:v>
                </c:pt>
                <c:pt idx="94">
                  <c:v>245.99335630000002</c:v>
                </c:pt>
                <c:pt idx="95">
                  <c:v>292.64977299999998</c:v>
                </c:pt>
                <c:pt idx="96">
                  <c:v>342.58928049999997</c:v>
                </c:pt>
                <c:pt idx="97">
                  <c:v>391.88932349999999</c:v>
                </c:pt>
                <c:pt idx="98">
                  <c:v>372.10572719999999</c:v>
                </c:pt>
                <c:pt idx="99">
                  <c:v>634.88071880000007</c:v>
                </c:pt>
                <c:pt idx="100">
                  <c:v>775.49997819999999</c:v>
                </c:pt>
                <c:pt idx="101">
                  <c:v>803.24751689999994</c:v>
                </c:pt>
                <c:pt idx="102">
                  <c:v>883.56993780000005</c:v>
                </c:pt>
                <c:pt idx="103">
                  <c:v>765.29252800000006</c:v>
                </c:pt>
                <c:pt idx="104">
                  <c:v>505.15775780000007</c:v>
                </c:pt>
                <c:pt idx="105">
                  <c:v>424.66087279999999</c:v>
                </c:pt>
                <c:pt idx="106">
                  <c:v>385.68912680000005</c:v>
                </c:pt>
                <c:pt idx="107">
                  <c:v>407.93590250000011</c:v>
                </c:pt>
                <c:pt idx="108">
                  <c:v>437.32424109999999</c:v>
                </c:pt>
                <c:pt idx="109">
                  <c:v>418.90298310000003</c:v>
                </c:pt>
                <c:pt idx="110">
                  <c:v>314.84609189999998</c:v>
                </c:pt>
                <c:pt idx="111">
                  <c:v>253.426424</c:v>
                </c:pt>
                <c:pt idx="112">
                  <c:v>249.95849390000001</c:v>
                </c:pt>
                <c:pt idx="113">
                  <c:v>126.53196010000001</c:v>
                </c:pt>
                <c:pt idx="114">
                  <c:v>5.9976493999999994</c:v>
                </c:pt>
                <c:pt idx="115">
                  <c:v>3.20790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F80-4D44-B5FB-C7344E7BB008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Other Base</c:v>
                </c:pt>
              </c:strCache>
            </c:strRef>
          </c:tx>
          <c:spPr>
            <a:solidFill>
              <a:schemeClr val="accent3"/>
            </a:solidFill>
            <a:ln w="28575">
              <a:solidFill>
                <a:schemeClr val="accent3"/>
              </a:solidFill>
            </a:ln>
            <a:effectLst/>
          </c:spPr>
          <c:invertIfNegative val="0"/>
          <c:cat>
            <c:numRef>
              <c:f>Sheet1!$A$2:$A$175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D$2:$D$175</c:f>
              <c:numCache>
                <c:formatCode>#,##0</c:formatCode>
                <c:ptCount val="116"/>
                <c:pt idx="0">
                  <c:v>7456.4480264000003</c:v>
                </c:pt>
                <c:pt idx="1">
                  <c:v>6778.1103578000002</c:v>
                </c:pt>
                <c:pt idx="2">
                  <c:v>6668.7970454999995</c:v>
                </c:pt>
                <c:pt idx="3">
                  <c:v>6678.3859325000003</c:v>
                </c:pt>
                <c:pt idx="4">
                  <c:v>6620.8526101000007</c:v>
                </c:pt>
                <c:pt idx="5">
                  <c:v>6810.7125739000003</c:v>
                </c:pt>
                <c:pt idx="6">
                  <c:v>6801.1236867999996</c:v>
                </c:pt>
                <c:pt idx="7">
                  <c:v>6653.4548261</c:v>
                </c:pt>
                <c:pt idx="8">
                  <c:v>6689.892597</c:v>
                </c:pt>
                <c:pt idx="9">
                  <c:v>6850.9858996000003</c:v>
                </c:pt>
                <c:pt idx="10">
                  <c:v>7421.3892874000003</c:v>
                </c:pt>
                <c:pt idx="11">
                  <c:v>7419.4715099999994</c:v>
                </c:pt>
                <c:pt idx="12">
                  <c:v>6684.1392646999993</c:v>
                </c:pt>
                <c:pt idx="13">
                  <c:v>6617.0170553000007</c:v>
                </c:pt>
                <c:pt idx="14">
                  <c:v>6638.1126068000003</c:v>
                </c:pt>
                <c:pt idx="15">
                  <c:v>7056.1880827000005</c:v>
                </c:pt>
                <c:pt idx="16">
                  <c:v>6958.3814346999998</c:v>
                </c:pt>
                <c:pt idx="17">
                  <c:v>6925.7792184999998</c:v>
                </c:pt>
                <c:pt idx="18">
                  <c:v>6785.7814674000001</c:v>
                </c:pt>
                <c:pt idx="19">
                  <c:v>6718.6592581000004</c:v>
                </c:pt>
                <c:pt idx="20">
                  <c:v>15328.977002000001</c:v>
                </c:pt>
                <c:pt idx="21">
                  <c:v>7893.7279553999997</c:v>
                </c:pt>
                <c:pt idx="22">
                  <c:v>6814.5481287000002</c:v>
                </c:pt>
                <c:pt idx="23">
                  <c:v>6697.5637066999989</c:v>
                </c:pt>
                <c:pt idx="24">
                  <c:v>6734.0014773999992</c:v>
                </c:pt>
                <c:pt idx="25">
                  <c:v>6676.4681550000005</c:v>
                </c:pt>
                <c:pt idx="26">
                  <c:v>14182.878452500001</c:v>
                </c:pt>
                <c:pt idx="27">
                  <c:v>14250.000662</c:v>
                </c:pt>
                <c:pt idx="28">
                  <c:v>13674.0450977</c:v>
                </c:pt>
                <c:pt idx="29">
                  <c:v>20075.396337400001</c:v>
                </c:pt>
                <c:pt idx="30">
                  <c:v>6681.2625986000003</c:v>
                </c:pt>
                <c:pt idx="31">
                  <c:v>6853.8625658000001</c:v>
                </c:pt>
                <c:pt idx="32">
                  <c:v>6623.7292761999997</c:v>
                </c:pt>
                <c:pt idx="33">
                  <c:v>6820.301461</c:v>
                </c:pt>
                <c:pt idx="34">
                  <c:v>6637.1537181000003</c:v>
                </c:pt>
                <c:pt idx="35">
                  <c:v>8029.8901517999993</c:v>
                </c:pt>
                <c:pt idx="36">
                  <c:v>6825.0959045</c:v>
                </c:pt>
                <c:pt idx="37">
                  <c:v>6885.5058928999997</c:v>
                </c:pt>
                <c:pt idx="38">
                  <c:v>6830.8492365999991</c:v>
                </c:pt>
                <c:pt idx="39">
                  <c:v>6776.1925804999992</c:v>
                </c:pt>
                <c:pt idx="40">
                  <c:v>37.396659399999997</c:v>
                </c:pt>
                <c:pt idx="41">
                  <c:v>0</c:v>
                </c:pt>
                <c:pt idx="42">
                  <c:v>0</c:v>
                </c:pt>
                <c:pt idx="43">
                  <c:v>7.6711095999999994</c:v>
                </c:pt>
                <c:pt idx="44">
                  <c:v>163.01108009999999</c:v>
                </c:pt>
                <c:pt idx="45">
                  <c:v>0</c:v>
                </c:pt>
                <c:pt idx="46">
                  <c:v>202.32551699999999</c:v>
                </c:pt>
                <c:pt idx="47">
                  <c:v>2.8766661</c:v>
                </c:pt>
                <c:pt idx="48">
                  <c:v>0</c:v>
                </c:pt>
                <c:pt idx="49">
                  <c:v>14.383330600000001</c:v>
                </c:pt>
                <c:pt idx="50">
                  <c:v>0</c:v>
                </c:pt>
                <c:pt idx="51">
                  <c:v>114.10775599999999</c:v>
                </c:pt>
                <c:pt idx="52">
                  <c:v>112.1899785</c:v>
                </c:pt>
                <c:pt idx="53">
                  <c:v>224.37995720000001</c:v>
                </c:pt>
                <c:pt idx="54">
                  <c:v>44.108880399999997</c:v>
                </c:pt>
                <c:pt idx="55">
                  <c:v>92.053315699999999</c:v>
                </c:pt>
                <c:pt idx="56">
                  <c:v>126.5733092</c:v>
                </c:pt>
                <c:pt idx="57">
                  <c:v>15.3422193</c:v>
                </c:pt>
                <c:pt idx="58">
                  <c:v>77.669985199999999</c:v>
                </c:pt>
                <c:pt idx="59">
                  <c:v>46.026657799999995</c:v>
                </c:pt>
                <c:pt idx="60">
                  <c:v>0</c:v>
                </c:pt>
                <c:pt idx="61">
                  <c:v>39.314436899999997</c:v>
                </c:pt>
                <c:pt idx="62">
                  <c:v>200.40773949999999</c:v>
                </c:pt>
                <c:pt idx="63">
                  <c:v>321.22771649999999</c:v>
                </c:pt>
                <c:pt idx="64">
                  <c:v>28.766661200000001</c:v>
                </c:pt>
                <c:pt idx="65">
                  <c:v>2.8766661</c:v>
                </c:pt>
                <c:pt idx="66">
                  <c:v>0</c:v>
                </c:pt>
                <c:pt idx="67">
                  <c:v>112.1899786</c:v>
                </c:pt>
                <c:pt idx="68">
                  <c:v>666.42765059999999</c:v>
                </c:pt>
                <c:pt idx="69">
                  <c:v>137.12108489999997</c:v>
                </c:pt>
                <c:pt idx="70">
                  <c:v>85.341094800000008</c:v>
                </c:pt>
                <c:pt idx="71">
                  <c:v>384.51437110000001</c:v>
                </c:pt>
                <c:pt idx="72">
                  <c:v>144.79219449999999</c:v>
                </c:pt>
                <c:pt idx="73">
                  <c:v>67.122209299999994</c:v>
                </c:pt>
                <c:pt idx="74">
                  <c:v>326.02215999999999</c:v>
                </c:pt>
                <c:pt idx="75">
                  <c:v>89.17664959999999</c:v>
                </c:pt>
                <c:pt idx="76">
                  <c:v>6.4724987</c:v>
                </c:pt>
                <c:pt idx="77">
                  <c:v>148.6277494</c:v>
                </c:pt>
                <c:pt idx="78">
                  <c:v>134.24441880000001</c:v>
                </c:pt>
                <c:pt idx="79">
                  <c:v>218.62662490000002</c:v>
                </c:pt>
                <c:pt idx="80">
                  <c:v>172.59996699999999</c:v>
                </c:pt>
                <c:pt idx="81">
                  <c:v>29.7255498</c:v>
                </c:pt>
                <c:pt idx="82">
                  <c:v>7.6711095999999994</c:v>
                </c:pt>
                <c:pt idx="83">
                  <c:v>269.4477263</c:v>
                </c:pt>
                <c:pt idx="84">
                  <c:v>97.80664800000001</c:v>
                </c:pt>
                <c:pt idx="85">
                  <c:v>487.11546250000004</c:v>
                </c:pt>
                <c:pt idx="86">
                  <c:v>205.20218309999998</c:v>
                </c:pt>
                <c:pt idx="87">
                  <c:v>5.5136101000000002</c:v>
                </c:pt>
                <c:pt idx="88">
                  <c:v>106.43664630000001</c:v>
                </c:pt>
                <c:pt idx="89">
                  <c:v>7.6711095999999994</c:v>
                </c:pt>
                <c:pt idx="90">
                  <c:v>75.752207799999994</c:v>
                </c:pt>
                <c:pt idx="91">
                  <c:v>117.70358859999999</c:v>
                </c:pt>
                <c:pt idx="92">
                  <c:v>18.2188853</c:v>
                </c:pt>
                <c:pt idx="93">
                  <c:v>28.766661200000001</c:v>
                </c:pt>
                <c:pt idx="94">
                  <c:v>0</c:v>
                </c:pt>
                <c:pt idx="95">
                  <c:v>0</c:v>
                </c:pt>
                <c:pt idx="96">
                  <c:v>17.259996700000002</c:v>
                </c:pt>
                <c:pt idx="97">
                  <c:v>0</c:v>
                </c:pt>
                <c:pt idx="98">
                  <c:v>53.697767499999998</c:v>
                </c:pt>
                <c:pt idx="99">
                  <c:v>211.91440409999998</c:v>
                </c:pt>
                <c:pt idx="100">
                  <c:v>108.35442379999999</c:v>
                </c:pt>
                <c:pt idx="101">
                  <c:v>271.36550369999998</c:v>
                </c:pt>
                <c:pt idx="102">
                  <c:v>222.46217979999997</c:v>
                </c:pt>
                <c:pt idx="103">
                  <c:v>70.9577642</c:v>
                </c:pt>
                <c:pt idx="104">
                  <c:v>2.8766661</c:v>
                </c:pt>
                <c:pt idx="105">
                  <c:v>382.59659370000003</c:v>
                </c:pt>
                <c:pt idx="106">
                  <c:v>46.985546599999999</c:v>
                </c:pt>
                <c:pt idx="107">
                  <c:v>358.62437600000004</c:v>
                </c:pt>
                <c:pt idx="108">
                  <c:v>235.88662169999998</c:v>
                </c:pt>
                <c:pt idx="109">
                  <c:v>79.587762499999997</c:v>
                </c:pt>
                <c:pt idx="110">
                  <c:v>2.8766661</c:v>
                </c:pt>
                <c:pt idx="111">
                  <c:v>260.81772799999999</c:v>
                </c:pt>
                <c:pt idx="112">
                  <c:v>170.68218960000002</c:v>
                </c:pt>
                <c:pt idx="113">
                  <c:v>197.53107349999999</c:v>
                </c:pt>
                <c:pt idx="114">
                  <c:v>0</c:v>
                </c:pt>
                <c:pt idx="1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B6-4818-925F-A1C544F08546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ignup</c:v>
                </c:pt>
              </c:strCache>
            </c:strRef>
          </c:tx>
          <c:spPr>
            <a:solidFill>
              <a:schemeClr val="accent4"/>
            </a:solidFill>
            <a:ln w="28575">
              <a:solidFill>
                <a:schemeClr val="accent4"/>
              </a:solidFill>
            </a:ln>
            <a:effectLst/>
          </c:spPr>
          <c:invertIfNegative val="0"/>
          <c:cat>
            <c:numRef>
              <c:f>Sheet1!$A$2:$A$175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E$2:$E$175</c:f>
              <c:numCache>
                <c:formatCode>#,##0</c:formatCode>
                <c:ptCount val="116"/>
                <c:pt idx="0">
                  <c:v>0</c:v>
                </c:pt>
                <c:pt idx="1">
                  <c:v>0</c:v>
                </c:pt>
                <c:pt idx="2">
                  <c:v>17.909278</c:v>
                </c:pt>
                <c:pt idx="3">
                  <c:v>6308.8607324999994</c:v>
                </c:pt>
                <c:pt idx="4">
                  <c:v>10077.784587300001</c:v>
                </c:pt>
                <c:pt idx="5">
                  <c:v>8240.888340200001</c:v>
                </c:pt>
                <c:pt idx="6">
                  <c:v>9227.9874659000016</c:v>
                </c:pt>
                <c:pt idx="7">
                  <c:v>10256.5840498</c:v>
                </c:pt>
                <c:pt idx="8">
                  <c:v>16316.571527800001</c:v>
                </c:pt>
                <c:pt idx="9">
                  <c:v>16296.650470799999</c:v>
                </c:pt>
                <c:pt idx="10">
                  <c:v>14600.186127299999</c:v>
                </c:pt>
                <c:pt idx="11">
                  <c:v>20551.2664936</c:v>
                </c:pt>
                <c:pt idx="12">
                  <c:v>21799.693246800001</c:v>
                </c:pt>
                <c:pt idx="13">
                  <c:v>17517.1885181</c:v>
                </c:pt>
                <c:pt idx="14">
                  <c:v>14846.375325800002</c:v>
                </c:pt>
                <c:pt idx="15">
                  <c:v>15017.9465079</c:v>
                </c:pt>
                <c:pt idx="16">
                  <c:v>13348.278655399999</c:v>
                </c:pt>
                <c:pt idx="17">
                  <c:v>8698.8613656000016</c:v>
                </c:pt>
                <c:pt idx="18">
                  <c:v>6870.3090241</c:v>
                </c:pt>
                <c:pt idx="19">
                  <c:v>6568.379943599999</c:v>
                </c:pt>
                <c:pt idx="20">
                  <c:v>7741.9227211999987</c:v>
                </c:pt>
                <c:pt idx="21">
                  <c:v>6953.5518568000007</c:v>
                </c:pt>
                <c:pt idx="22">
                  <c:v>5810.7977548999997</c:v>
                </c:pt>
                <c:pt idx="23">
                  <c:v>6721.2792756000008</c:v>
                </c:pt>
                <c:pt idx="24">
                  <c:v>14972.700538399999</c:v>
                </c:pt>
                <c:pt idx="25">
                  <c:v>8827.7871488000001</c:v>
                </c:pt>
                <c:pt idx="26">
                  <c:v>12334.554620399998</c:v>
                </c:pt>
                <c:pt idx="27">
                  <c:v>13844.335748899999</c:v>
                </c:pt>
                <c:pt idx="28">
                  <c:v>6976.5216697000005</c:v>
                </c:pt>
                <c:pt idx="29">
                  <c:v>5898.9235248000005</c:v>
                </c:pt>
                <c:pt idx="30">
                  <c:v>1780.9228077999999</c:v>
                </c:pt>
                <c:pt idx="31">
                  <c:v>2872.2781249</c:v>
                </c:pt>
                <c:pt idx="32">
                  <c:v>5689.9932675</c:v>
                </c:pt>
                <c:pt idx="33">
                  <c:v>6384.1180991000001</c:v>
                </c:pt>
                <c:pt idx="34">
                  <c:v>6250.3119802000001</c:v>
                </c:pt>
                <c:pt idx="35">
                  <c:v>8161.5109575000006</c:v>
                </c:pt>
                <c:pt idx="36">
                  <c:v>8983.9037752000004</c:v>
                </c:pt>
                <c:pt idx="37">
                  <c:v>9470.2951055000012</c:v>
                </c:pt>
                <c:pt idx="38">
                  <c:v>9466.7531763000006</c:v>
                </c:pt>
                <c:pt idx="39">
                  <c:v>8032.0634702000007</c:v>
                </c:pt>
                <c:pt idx="40">
                  <c:v>4691.7314523999994</c:v>
                </c:pt>
                <c:pt idx="41">
                  <c:v>1427.6457216999997</c:v>
                </c:pt>
                <c:pt idx="42">
                  <c:v>707.79517940000005</c:v>
                </c:pt>
                <c:pt idx="43">
                  <c:v>457.4111216</c:v>
                </c:pt>
                <c:pt idx="44">
                  <c:v>722.28566939999996</c:v>
                </c:pt>
                <c:pt idx="45">
                  <c:v>161.26714180000002</c:v>
                </c:pt>
                <c:pt idx="46">
                  <c:v>4.6438677000000004</c:v>
                </c:pt>
                <c:pt idx="47">
                  <c:v>322.84645339999997</c:v>
                </c:pt>
                <c:pt idx="48">
                  <c:v>410.30232580000001</c:v>
                </c:pt>
                <c:pt idx="49">
                  <c:v>163.60457719999999</c:v>
                </c:pt>
                <c:pt idx="50">
                  <c:v>5.2585457000000009</c:v>
                </c:pt>
                <c:pt idx="51">
                  <c:v>587.09446019999996</c:v>
                </c:pt>
                <c:pt idx="52">
                  <c:v>989.63303819999999</c:v>
                </c:pt>
                <c:pt idx="53">
                  <c:v>1497.3482997000001</c:v>
                </c:pt>
                <c:pt idx="54">
                  <c:v>1974.3926919</c:v>
                </c:pt>
                <c:pt idx="55">
                  <c:v>1888.2853602</c:v>
                </c:pt>
                <c:pt idx="56">
                  <c:v>2008.7687973999996</c:v>
                </c:pt>
                <c:pt idx="57">
                  <c:v>2771.7466907000003</c:v>
                </c:pt>
                <c:pt idx="58">
                  <c:v>5054.3052818999995</c:v>
                </c:pt>
                <c:pt idx="59">
                  <c:v>6560.0199292999996</c:v>
                </c:pt>
                <c:pt idx="60">
                  <c:v>7050.6604855999994</c:v>
                </c:pt>
                <c:pt idx="61">
                  <c:v>7393.2894442000006</c:v>
                </c:pt>
                <c:pt idx="62">
                  <c:v>7546.1923236999992</c:v>
                </c:pt>
                <c:pt idx="63">
                  <c:v>8829.1478619000009</c:v>
                </c:pt>
                <c:pt idx="64">
                  <c:v>9155.4280565999998</c:v>
                </c:pt>
                <c:pt idx="65">
                  <c:v>8907.5005572999999</c:v>
                </c:pt>
                <c:pt idx="66">
                  <c:v>2327.7707994000002</c:v>
                </c:pt>
                <c:pt idx="67">
                  <c:v>11337.3507902</c:v>
                </c:pt>
                <c:pt idx="68">
                  <c:v>11004.0812983</c:v>
                </c:pt>
                <c:pt idx="69">
                  <c:v>10462.982052100002</c:v>
                </c:pt>
                <c:pt idx="70">
                  <c:v>9418.6614879999997</c:v>
                </c:pt>
                <c:pt idx="71">
                  <c:v>3333.8248901000002</c:v>
                </c:pt>
                <c:pt idx="72">
                  <c:v>118.16149150000001</c:v>
                </c:pt>
                <c:pt idx="73">
                  <c:v>3.3077656000000002</c:v>
                </c:pt>
                <c:pt idx="74">
                  <c:v>9.2596199999999976E-2</c:v>
                </c:pt>
                <c:pt idx="75">
                  <c:v>2.5921000000000004E-3</c:v>
                </c:pt>
                <c:pt idx="76">
                  <c:v>7.2499999999999987E-5</c:v>
                </c:pt>
                <c:pt idx="77">
                  <c:v>1378.2533209000001</c:v>
                </c:pt>
                <c:pt idx="78">
                  <c:v>3084.4606405999998</c:v>
                </c:pt>
                <c:pt idx="79">
                  <c:v>3085.8676743000001</c:v>
                </c:pt>
                <c:pt idx="80">
                  <c:v>2900.4318416999999</c:v>
                </c:pt>
                <c:pt idx="81">
                  <c:v>2529.8787892</c:v>
                </c:pt>
                <c:pt idx="82">
                  <c:v>1875.3403636999999</c:v>
                </c:pt>
                <c:pt idx="83">
                  <c:v>1591.6718851000001</c:v>
                </c:pt>
                <c:pt idx="84">
                  <c:v>513.42456789999994</c:v>
                </c:pt>
                <c:pt idx="85">
                  <c:v>14.3726018</c:v>
                </c:pt>
                <c:pt idx="86">
                  <c:v>1279.9373310999999</c:v>
                </c:pt>
                <c:pt idx="87">
                  <c:v>2216.3004046999999</c:v>
                </c:pt>
                <c:pt idx="88">
                  <c:v>2110.9460853</c:v>
                </c:pt>
                <c:pt idx="89">
                  <c:v>720.84368600000005</c:v>
                </c:pt>
                <c:pt idx="90">
                  <c:v>1193.8262104</c:v>
                </c:pt>
                <c:pt idx="91">
                  <c:v>1595.9368191000001</c:v>
                </c:pt>
                <c:pt idx="92">
                  <c:v>2079.0632669000001</c:v>
                </c:pt>
                <c:pt idx="93">
                  <c:v>2349.3363198999996</c:v>
                </c:pt>
                <c:pt idx="94">
                  <c:v>3348.2646531999999</c:v>
                </c:pt>
                <c:pt idx="95">
                  <c:v>3075.7706346</c:v>
                </c:pt>
                <c:pt idx="96">
                  <c:v>3665.0426858999999</c:v>
                </c:pt>
                <c:pt idx="97">
                  <c:v>5650.7543981000008</c:v>
                </c:pt>
                <c:pt idx="98">
                  <c:v>4475.5112250000002</c:v>
                </c:pt>
                <c:pt idx="99">
                  <c:v>7099.8479385000001</c:v>
                </c:pt>
                <c:pt idx="100">
                  <c:v>8702.8466785000001</c:v>
                </c:pt>
                <c:pt idx="101">
                  <c:v>10861.9345923</c:v>
                </c:pt>
                <c:pt idx="102">
                  <c:v>12951.244329499999</c:v>
                </c:pt>
                <c:pt idx="103">
                  <c:v>13557.849708100002</c:v>
                </c:pt>
                <c:pt idx="104">
                  <c:v>11448.724509400001</c:v>
                </c:pt>
                <c:pt idx="105">
                  <c:v>12956.790460300001</c:v>
                </c:pt>
                <c:pt idx="106">
                  <c:v>12905.7732034</c:v>
                </c:pt>
                <c:pt idx="107">
                  <c:v>14275.261700799998</c:v>
                </c:pt>
                <c:pt idx="108">
                  <c:v>15294.1752777</c:v>
                </c:pt>
                <c:pt idx="109">
                  <c:v>15648.096899099999</c:v>
                </c:pt>
                <c:pt idx="110">
                  <c:v>16280.7526192</c:v>
                </c:pt>
                <c:pt idx="111">
                  <c:v>15809.414755400001</c:v>
                </c:pt>
                <c:pt idx="112">
                  <c:v>15450.576461500001</c:v>
                </c:pt>
                <c:pt idx="113">
                  <c:v>15617.3864558</c:v>
                </c:pt>
                <c:pt idx="114">
                  <c:v>14935.0054679</c:v>
                </c:pt>
                <c:pt idx="115">
                  <c:v>2169.6613252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1CB-4DAD-968A-131BF851268F}"/>
            </c:ext>
          </c:extLst>
        </c:ser>
        <c:ser>
          <c:idx val="1"/>
          <c:order val="3"/>
          <c:tx>
            <c:strRef>
              <c:f>Sheet1!$C$1</c:f>
              <c:strCache>
                <c:ptCount val="1"/>
                <c:pt idx="0">
                  <c:v>Covid</c:v>
                </c:pt>
              </c:strCache>
            </c:strRef>
          </c:tx>
          <c:spPr>
            <a:solidFill>
              <a:srgbClr val="FF0000"/>
            </a:solidFill>
            <a:ln w="28575">
              <a:solidFill>
                <a:srgbClr val="FF0000"/>
              </a:solidFill>
            </a:ln>
            <a:effectLst/>
          </c:spPr>
          <c:invertIfNegative val="0"/>
          <c:val>
            <c:numRef>
              <c:f>Sheet1!$C$2:$C$117</c:f>
              <c:numCache>
                <c:formatCode>#,##0</c:formatCode>
                <c:ptCount val="1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-36.859702300000002</c:v>
                </c:pt>
                <c:pt idx="36">
                  <c:v>-330.11992300000003</c:v>
                </c:pt>
                <c:pt idx="37">
                  <c:v>-118.15535010000002</c:v>
                </c:pt>
                <c:pt idx="38">
                  <c:v>-122.9649869</c:v>
                </c:pt>
                <c:pt idx="39">
                  <c:v>-457.68173590000004</c:v>
                </c:pt>
                <c:pt idx="40">
                  <c:v>-2026.943154</c:v>
                </c:pt>
                <c:pt idx="41">
                  <c:v>-4339.5277265000004</c:v>
                </c:pt>
                <c:pt idx="42">
                  <c:v>-5416.0353544999998</c:v>
                </c:pt>
                <c:pt idx="43">
                  <c:v>-5388.1139159999993</c:v>
                </c:pt>
                <c:pt idx="44">
                  <c:v>-5449.362314</c:v>
                </c:pt>
                <c:pt idx="45">
                  <c:v>-5252.890734300001</c:v>
                </c:pt>
                <c:pt idx="46">
                  <c:v>-5177.8093071000003</c:v>
                </c:pt>
                <c:pt idx="47">
                  <c:v>-5059.5688272999996</c:v>
                </c:pt>
                <c:pt idx="48">
                  <c:v>-4957.8002930000002</c:v>
                </c:pt>
                <c:pt idx="49">
                  <c:v>-4670.1584067000003</c:v>
                </c:pt>
                <c:pt idx="50">
                  <c:v>-4535.9141814000004</c:v>
                </c:pt>
                <c:pt idx="51">
                  <c:v>-4332.2919861</c:v>
                </c:pt>
                <c:pt idx="52">
                  <c:v>-4357.1488757000006</c:v>
                </c:pt>
                <c:pt idx="53">
                  <c:v>-4113.6024321999994</c:v>
                </c:pt>
                <c:pt idx="54">
                  <c:v>-3918.7056886999994</c:v>
                </c:pt>
                <c:pt idx="55">
                  <c:v>-3883.3782614999996</c:v>
                </c:pt>
                <c:pt idx="56">
                  <c:v>520.54484270000023</c:v>
                </c:pt>
                <c:pt idx="57">
                  <c:v>535.48039900000003</c:v>
                </c:pt>
                <c:pt idx="58">
                  <c:v>509.38917990000039</c:v>
                </c:pt>
                <c:pt idx="59">
                  <c:v>557.91119000000037</c:v>
                </c:pt>
                <c:pt idx="60">
                  <c:v>645.84669410000038</c:v>
                </c:pt>
                <c:pt idx="61">
                  <c:v>592.68529860000035</c:v>
                </c:pt>
                <c:pt idx="62">
                  <c:v>585.79006529999981</c:v>
                </c:pt>
                <c:pt idx="63">
                  <c:v>5326.8983177999999</c:v>
                </c:pt>
                <c:pt idx="64">
                  <c:v>3629.3839789999993</c:v>
                </c:pt>
                <c:pt idx="65">
                  <c:v>3322.7300599</c:v>
                </c:pt>
                <c:pt idx="66">
                  <c:v>3474.9359462999996</c:v>
                </c:pt>
                <c:pt idx="67">
                  <c:v>3394.4915578999999</c:v>
                </c:pt>
                <c:pt idx="68">
                  <c:v>3260.8006481999996</c:v>
                </c:pt>
                <c:pt idx="69">
                  <c:v>3261.9498547999997</c:v>
                </c:pt>
                <c:pt idx="70">
                  <c:v>3299.6608203000001</c:v>
                </c:pt>
                <c:pt idx="71">
                  <c:v>395.45264220000013</c:v>
                </c:pt>
                <c:pt idx="72">
                  <c:v>2249.6601557000004</c:v>
                </c:pt>
                <c:pt idx="73">
                  <c:v>-3375.0504687000007</c:v>
                </c:pt>
                <c:pt idx="74">
                  <c:v>-3872.7374691999999</c:v>
                </c:pt>
                <c:pt idx="75">
                  <c:v>-3930.1551808000004</c:v>
                </c:pt>
                <c:pt idx="76">
                  <c:v>-3850.9451257000005</c:v>
                </c:pt>
                <c:pt idx="77">
                  <c:v>82.169865700000059</c:v>
                </c:pt>
                <c:pt idx="78">
                  <c:v>518.74027290000004</c:v>
                </c:pt>
                <c:pt idx="79">
                  <c:v>-3345.6777675999997</c:v>
                </c:pt>
                <c:pt idx="80">
                  <c:v>-2263.0586452999996</c:v>
                </c:pt>
                <c:pt idx="81">
                  <c:v>-3959.9966617999999</c:v>
                </c:pt>
                <c:pt idx="82">
                  <c:v>-4949.9261082000003</c:v>
                </c:pt>
                <c:pt idx="83">
                  <c:v>-4870.7160519999998</c:v>
                </c:pt>
                <c:pt idx="84">
                  <c:v>-4842.3689838999999</c:v>
                </c:pt>
                <c:pt idx="85">
                  <c:v>-4786.9517404999997</c:v>
                </c:pt>
                <c:pt idx="86">
                  <c:v>-4710.2103512000003</c:v>
                </c:pt>
                <c:pt idx="87">
                  <c:v>-4771.2459312999999</c:v>
                </c:pt>
                <c:pt idx="88">
                  <c:v>-4599.0779185000001</c:v>
                </c:pt>
                <c:pt idx="89">
                  <c:v>-4394.8598431999999</c:v>
                </c:pt>
                <c:pt idx="90">
                  <c:v>-4339.9107916000003</c:v>
                </c:pt>
                <c:pt idx="91">
                  <c:v>-4178.5963886999998</c:v>
                </c:pt>
                <c:pt idx="92">
                  <c:v>-3996.2132165000003</c:v>
                </c:pt>
                <c:pt idx="93">
                  <c:v>-3911.2145703000001</c:v>
                </c:pt>
                <c:pt idx="94">
                  <c:v>97.160585999999739</c:v>
                </c:pt>
                <c:pt idx="95">
                  <c:v>1756.3818474</c:v>
                </c:pt>
                <c:pt idx="96">
                  <c:v>513.09217520000084</c:v>
                </c:pt>
                <c:pt idx="97">
                  <c:v>993.54520710000008</c:v>
                </c:pt>
                <c:pt idx="98">
                  <c:v>1000.4830040000004</c:v>
                </c:pt>
                <c:pt idx="99">
                  <c:v>1445.8502882000003</c:v>
                </c:pt>
                <c:pt idx="100">
                  <c:v>994.26878220000026</c:v>
                </c:pt>
                <c:pt idx="101">
                  <c:v>3788.7916750999998</c:v>
                </c:pt>
                <c:pt idx="102">
                  <c:v>4082.4688937000001</c:v>
                </c:pt>
                <c:pt idx="103">
                  <c:v>4091.2794714000001</c:v>
                </c:pt>
                <c:pt idx="104">
                  <c:v>3557.7638682999996</c:v>
                </c:pt>
                <c:pt idx="105">
                  <c:v>3608.328911699999</c:v>
                </c:pt>
                <c:pt idx="106">
                  <c:v>3447.3975760999997</c:v>
                </c:pt>
                <c:pt idx="107">
                  <c:v>3542.9944489999998</c:v>
                </c:pt>
                <c:pt idx="108">
                  <c:v>3606.4135672999996</c:v>
                </c:pt>
                <c:pt idx="109">
                  <c:v>3696.5197940000003</c:v>
                </c:pt>
                <c:pt idx="110">
                  <c:v>3608.6268533000002</c:v>
                </c:pt>
                <c:pt idx="111">
                  <c:v>3454.0374283000001</c:v>
                </c:pt>
                <c:pt idx="112">
                  <c:v>3460.4219033999998</c:v>
                </c:pt>
                <c:pt idx="113">
                  <c:v>3491.7909581999997</c:v>
                </c:pt>
                <c:pt idx="114">
                  <c:v>3585.8129939000005</c:v>
                </c:pt>
                <c:pt idx="115">
                  <c:v>-984.0594794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F6-4EEF-B0A5-986C6925D57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Referrals</c:v>
                </c:pt>
              </c:strCache>
            </c:strRef>
          </c:tx>
          <c:spPr>
            <a:solidFill>
              <a:schemeClr val="accent1"/>
            </a:solidFill>
            <a:ln w="28575">
              <a:solidFill>
                <a:schemeClr val="accent1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F$2:$F$117</c:f>
              <c:numCache>
                <c:formatCode>#,##0</c:formatCode>
                <c:ptCount val="1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1.811760599999999</c:v>
                </c:pt>
                <c:pt idx="9">
                  <c:v>45.934541600000003</c:v>
                </c:pt>
                <c:pt idx="10">
                  <c:v>79.338529300000005</c:v>
                </c:pt>
                <c:pt idx="11">
                  <c:v>378.82504599999999</c:v>
                </c:pt>
                <c:pt idx="12">
                  <c:v>1176.2124690000001</c:v>
                </c:pt>
                <c:pt idx="13">
                  <c:v>1942.4570328</c:v>
                </c:pt>
                <c:pt idx="14">
                  <c:v>2509.5844578000001</c:v>
                </c:pt>
                <c:pt idx="15">
                  <c:v>2751.0578476999999</c:v>
                </c:pt>
                <c:pt idx="16">
                  <c:v>2191.8359952999999</c:v>
                </c:pt>
                <c:pt idx="17">
                  <c:v>1334.1334583000003</c:v>
                </c:pt>
                <c:pt idx="18">
                  <c:v>616.0999667000001</c:v>
                </c:pt>
                <c:pt idx="19">
                  <c:v>121.39110239999999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8.2473789999999987</c:v>
                </c:pt>
                <c:pt idx="26">
                  <c:v>32.478585299999999</c:v>
                </c:pt>
                <c:pt idx="27">
                  <c:v>34.3185249</c:v>
                </c:pt>
                <c:pt idx="28">
                  <c:v>26.075029699999998</c:v>
                </c:pt>
                <c:pt idx="29">
                  <c:v>14.733438100000001</c:v>
                </c:pt>
                <c:pt idx="30">
                  <c:v>0.94709670000000001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197.58124470000001</c:v>
                </c:pt>
                <c:pt idx="37">
                  <c:v>975.66593440000008</c:v>
                </c:pt>
                <c:pt idx="38">
                  <c:v>1797.8297856000002</c:v>
                </c:pt>
                <c:pt idx="39">
                  <c:v>2422.5054352999996</c:v>
                </c:pt>
                <c:pt idx="40">
                  <c:v>2654.3199404000002</c:v>
                </c:pt>
                <c:pt idx="41">
                  <c:v>1982.7190078000001</c:v>
                </c:pt>
                <c:pt idx="42">
                  <c:v>1147.096215</c:v>
                </c:pt>
                <c:pt idx="43">
                  <c:v>481.90768850000001</c:v>
                </c:pt>
                <c:pt idx="44">
                  <c:v>64.307292999999987</c:v>
                </c:pt>
                <c:pt idx="45">
                  <c:v>1.9373995000000002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44.354363599999999</c:v>
                </c:pt>
                <c:pt idx="56">
                  <c:v>81.250700399999999</c:v>
                </c:pt>
                <c:pt idx="57">
                  <c:v>287.74910460000001</c:v>
                </c:pt>
                <c:pt idx="58">
                  <c:v>763.45853480000005</c:v>
                </c:pt>
                <c:pt idx="59">
                  <c:v>787.02853810000011</c:v>
                </c:pt>
                <c:pt idx="60">
                  <c:v>715.90298409999991</c:v>
                </c:pt>
                <c:pt idx="61">
                  <c:v>444.01968160000001</c:v>
                </c:pt>
                <c:pt idx="62">
                  <c:v>208.88021229999998</c:v>
                </c:pt>
                <c:pt idx="63">
                  <c:v>222.11572689999997</c:v>
                </c:pt>
                <c:pt idx="64">
                  <c:v>148.71192769999999</c:v>
                </c:pt>
                <c:pt idx="65">
                  <c:v>138.67766510000001</c:v>
                </c:pt>
                <c:pt idx="66">
                  <c:v>294.09833889999999</c:v>
                </c:pt>
                <c:pt idx="67">
                  <c:v>444.53666680000003</c:v>
                </c:pt>
                <c:pt idx="68">
                  <c:v>383.37593990000005</c:v>
                </c:pt>
                <c:pt idx="69">
                  <c:v>259.63789129999998</c:v>
                </c:pt>
                <c:pt idx="70">
                  <c:v>90.418866899999998</c:v>
                </c:pt>
                <c:pt idx="71">
                  <c:v>2.7036E-3</c:v>
                </c:pt>
                <c:pt idx="72">
                  <c:v>2.2840099999999999E-2</c:v>
                </c:pt>
                <c:pt idx="73">
                  <c:v>2.7552500000000004E-2</c:v>
                </c:pt>
                <c:pt idx="74">
                  <c:v>2.17322E-2</c:v>
                </c:pt>
                <c:pt idx="75">
                  <c:v>1.3996900000000001E-2</c:v>
                </c:pt>
                <c:pt idx="76">
                  <c:v>1.7112E-3</c:v>
                </c:pt>
                <c:pt idx="77">
                  <c:v>279.34171570000001</c:v>
                </c:pt>
                <c:pt idx="78">
                  <c:v>665.85048259999996</c:v>
                </c:pt>
                <c:pt idx="79">
                  <c:v>778.65343699999994</c:v>
                </c:pt>
                <c:pt idx="80">
                  <c:v>857.99149329999989</c:v>
                </c:pt>
                <c:pt idx="81">
                  <c:v>560.32506609999996</c:v>
                </c:pt>
                <c:pt idx="82">
                  <c:v>276.38579070000003</c:v>
                </c:pt>
                <c:pt idx="83">
                  <c:v>112.8354966</c:v>
                </c:pt>
                <c:pt idx="84">
                  <c:v>49.346917899999994</c:v>
                </c:pt>
                <c:pt idx="85">
                  <c:v>90.396328999999994</c:v>
                </c:pt>
                <c:pt idx="86">
                  <c:v>162.20191649999998</c:v>
                </c:pt>
                <c:pt idx="87">
                  <c:v>209.74836860000002</c:v>
                </c:pt>
                <c:pt idx="88">
                  <c:v>150.21214750000001</c:v>
                </c:pt>
                <c:pt idx="89">
                  <c:v>93.920157000000017</c:v>
                </c:pt>
                <c:pt idx="90">
                  <c:v>50.804237499999999</c:v>
                </c:pt>
                <c:pt idx="91">
                  <c:v>184.57994170000001</c:v>
                </c:pt>
                <c:pt idx="92">
                  <c:v>206.1669215</c:v>
                </c:pt>
                <c:pt idx="93">
                  <c:v>159.24207340000001</c:v>
                </c:pt>
                <c:pt idx="94">
                  <c:v>107.3144099</c:v>
                </c:pt>
                <c:pt idx="95">
                  <c:v>713.41334499999994</c:v>
                </c:pt>
                <c:pt idx="96">
                  <c:v>3505.9309355</c:v>
                </c:pt>
                <c:pt idx="97">
                  <c:v>3586.5809644000001</c:v>
                </c:pt>
                <c:pt idx="98">
                  <c:v>2697.5348712</c:v>
                </c:pt>
                <c:pt idx="99">
                  <c:v>1798.5235244999999</c:v>
                </c:pt>
                <c:pt idx="100">
                  <c:v>1132.6100386999999</c:v>
                </c:pt>
                <c:pt idx="101">
                  <c:v>1638.5794629</c:v>
                </c:pt>
                <c:pt idx="102">
                  <c:v>2197.3242313999999</c:v>
                </c:pt>
                <c:pt idx="103">
                  <c:v>2977.9564455999998</c:v>
                </c:pt>
                <c:pt idx="104">
                  <c:v>3324.7695357000002</c:v>
                </c:pt>
                <c:pt idx="105">
                  <c:v>3401.2521489999999</c:v>
                </c:pt>
                <c:pt idx="106">
                  <c:v>2558.1455900000001</c:v>
                </c:pt>
                <c:pt idx="107">
                  <c:v>1503.6433783999998</c:v>
                </c:pt>
                <c:pt idx="108">
                  <c:v>0</c:v>
                </c:pt>
                <c:pt idx="109">
                  <c:v>2427.6842600999998</c:v>
                </c:pt>
                <c:pt idx="110">
                  <c:v>3547.5383459000004</c:v>
                </c:pt>
                <c:pt idx="111">
                  <c:v>2924.6512464999996</c:v>
                </c:pt>
                <c:pt idx="112">
                  <c:v>2029.8654701</c:v>
                </c:pt>
                <c:pt idx="113">
                  <c:v>434.83070889999999</c:v>
                </c:pt>
                <c:pt idx="114">
                  <c:v>0</c:v>
                </c:pt>
                <c:pt idx="1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80-4D44-B5FB-C7344E7BB00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Other Non-Media</c:v>
                </c:pt>
              </c:strCache>
            </c:strRef>
          </c:tx>
          <c:spPr>
            <a:solidFill>
              <a:schemeClr val="accent6"/>
            </a:solidFill>
            <a:ln w="28575">
              <a:solidFill>
                <a:schemeClr val="accent6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G$2:$G$117</c:f>
              <c:numCache>
                <c:formatCode>#,##0</c:formatCode>
                <c:ptCount val="116"/>
                <c:pt idx="0">
                  <c:v>87.853560000000016</c:v>
                </c:pt>
                <c:pt idx="1">
                  <c:v>182.75167070000001</c:v>
                </c:pt>
                <c:pt idx="2">
                  <c:v>8.7800685000000005</c:v>
                </c:pt>
                <c:pt idx="3">
                  <c:v>315.61709289999999</c:v>
                </c:pt>
                <c:pt idx="4">
                  <c:v>176.79303529999999</c:v>
                </c:pt>
                <c:pt idx="5">
                  <c:v>514.97472730000004</c:v>
                </c:pt>
                <c:pt idx="6">
                  <c:v>635.88387830000011</c:v>
                </c:pt>
                <c:pt idx="7">
                  <c:v>635.98409060000006</c:v>
                </c:pt>
                <c:pt idx="8">
                  <c:v>636.54412550000006</c:v>
                </c:pt>
                <c:pt idx="9">
                  <c:v>638.32763850000003</c:v>
                </c:pt>
                <c:pt idx="10">
                  <c:v>638.82956380000007</c:v>
                </c:pt>
                <c:pt idx="11">
                  <c:v>1216.2791233</c:v>
                </c:pt>
                <c:pt idx="12">
                  <c:v>1648.0550399999997</c:v>
                </c:pt>
                <c:pt idx="13">
                  <c:v>2390.7058904</c:v>
                </c:pt>
                <c:pt idx="14">
                  <c:v>2513.0829197999997</c:v>
                </c:pt>
                <c:pt idx="15">
                  <c:v>1646.8701626000002</c:v>
                </c:pt>
                <c:pt idx="16">
                  <c:v>2033.0701905999999</c:v>
                </c:pt>
                <c:pt idx="17">
                  <c:v>1020.7765920000002</c:v>
                </c:pt>
                <c:pt idx="18">
                  <c:v>1020.9408873</c:v>
                </c:pt>
                <c:pt idx="19">
                  <c:v>1020.5435284000001</c:v>
                </c:pt>
                <c:pt idx="20">
                  <c:v>1025.8143423000001</c:v>
                </c:pt>
                <c:pt idx="21">
                  <c:v>1020.4896088000002</c:v>
                </c:pt>
                <c:pt idx="22">
                  <c:v>1037.8855112000001</c:v>
                </c:pt>
                <c:pt idx="23">
                  <c:v>1024.7712912000002</c:v>
                </c:pt>
                <c:pt idx="24">
                  <c:v>1266.1929176000001</c:v>
                </c:pt>
                <c:pt idx="25">
                  <c:v>1804.6637799</c:v>
                </c:pt>
                <c:pt idx="26">
                  <c:v>2097.9507189999999</c:v>
                </c:pt>
                <c:pt idx="27">
                  <c:v>2068.7281355</c:v>
                </c:pt>
                <c:pt idx="28">
                  <c:v>2060.8593720999997</c:v>
                </c:pt>
                <c:pt idx="29">
                  <c:v>2052.3329887</c:v>
                </c:pt>
                <c:pt idx="30">
                  <c:v>2064.1265054</c:v>
                </c:pt>
                <c:pt idx="31">
                  <c:v>2283.6942439999998</c:v>
                </c:pt>
                <c:pt idx="32">
                  <c:v>2108.0973101999998</c:v>
                </c:pt>
                <c:pt idx="33">
                  <c:v>1705.6167428999995</c:v>
                </c:pt>
                <c:pt idx="34">
                  <c:v>666.65548120000005</c:v>
                </c:pt>
                <c:pt idx="35">
                  <c:v>669.47771079999995</c:v>
                </c:pt>
                <c:pt idx="36">
                  <c:v>644.10737830000005</c:v>
                </c:pt>
                <c:pt idx="37">
                  <c:v>660.51161300000001</c:v>
                </c:pt>
                <c:pt idx="38">
                  <c:v>653.47484290000011</c:v>
                </c:pt>
                <c:pt idx="39">
                  <c:v>660.33506900000009</c:v>
                </c:pt>
                <c:pt idx="40">
                  <c:v>654.20652899999993</c:v>
                </c:pt>
                <c:pt idx="41">
                  <c:v>631.51335540000002</c:v>
                </c:pt>
                <c:pt idx="42">
                  <c:v>630.8422597</c:v>
                </c:pt>
                <c:pt idx="43">
                  <c:v>1.3818545000000002</c:v>
                </c:pt>
                <c:pt idx="44">
                  <c:v>1.3271904000000001</c:v>
                </c:pt>
                <c:pt idx="45">
                  <c:v>6.0973870999999997</c:v>
                </c:pt>
                <c:pt idx="46">
                  <c:v>0.37277689999999997</c:v>
                </c:pt>
                <c:pt idx="47">
                  <c:v>5.7113310000000013</c:v>
                </c:pt>
                <c:pt idx="48">
                  <c:v>0.83674879999999996</c:v>
                </c:pt>
                <c:pt idx="49">
                  <c:v>5.8343966000000007</c:v>
                </c:pt>
                <c:pt idx="50">
                  <c:v>47.489896899999998</c:v>
                </c:pt>
                <c:pt idx="51">
                  <c:v>379.19030030000005</c:v>
                </c:pt>
                <c:pt idx="52">
                  <c:v>273.01368910000002</c:v>
                </c:pt>
                <c:pt idx="53">
                  <c:v>819.55023489999996</c:v>
                </c:pt>
                <c:pt idx="54">
                  <c:v>284.73831100000001</c:v>
                </c:pt>
                <c:pt idx="55">
                  <c:v>224.43391750000001</c:v>
                </c:pt>
                <c:pt idx="56">
                  <c:v>570.45222249999995</c:v>
                </c:pt>
                <c:pt idx="57">
                  <c:v>916.67171780000001</c:v>
                </c:pt>
                <c:pt idx="58">
                  <c:v>744.73888099999999</c:v>
                </c:pt>
                <c:pt idx="59">
                  <c:v>768.17483340000001</c:v>
                </c:pt>
                <c:pt idx="60">
                  <c:v>942.6467035999998</c:v>
                </c:pt>
                <c:pt idx="61">
                  <c:v>866.19861329999992</c:v>
                </c:pt>
                <c:pt idx="62">
                  <c:v>910.71925829999998</c:v>
                </c:pt>
                <c:pt idx="63">
                  <c:v>959.33668359999979</c:v>
                </c:pt>
                <c:pt idx="64">
                  <c:v>782.8724287</c:v>
                </c:pt>
                <c:pt idx="65">
                  <c:v>973.15372100000002</c:v>
                </c:pt>
                <c:pt idx="66">
                  <c:v>1055.7292945000002</c:v>
                </c:pt>
                <c:pt idx="67">
                  <c:v>1236.0226175999999</c:v>
                </c:pt>
                <c:pt idx="68">
                  <c:v>875.11777359999985</c:v>
                </c:pt>
                <c:pt idx="69">
                  <c:v>1137.3699186999997</c:v>
                </c:pt>
                <c:pt idx="70">
                  <c:v>1058.7904896999999</c:v>
                </c:pt>
                <c:pt idx="71">
                  <c:v>889.3352046</c:v>
                </c:pt>
                <c:pt idx="72">
                  <c:v>1161.3048541999999</c:v>
                </c:pt>
                <c:pt idx="73">
                  <c:v>1157.3324297999998</c:v>
                </c:pt>
                <c:pt idx="74">
                  <c:v>473.09678310000004</c:v>
                </c:pt>
                <c:pt idx="75">
                  <c:v>467.74910249999994</c:v>
                </c:pt>
                <c:pt idx="76">
                  <c:v>457.52210509999998</c:v>
                </c:pt>
                <c:pt idx="77">
                  <c:v>520.07393930000001</c:v>
                </c:pt>
                <c:pt idx="78">
                  <c:v>808.95297719999996</c:v>
                </c:pt>
                <c:pt idx="79">
                  <c:v>470.54142939999997</c:v>
                </c:pt>
                <c:pt idx="80">
                  <c:v>478.49864699999995</c:v>
                </c:pt>
                <c:pt idx="81">
                  <c:v>284.71491960000003</c:v>
                </c:pt>
                <c:pt idx="82">
                  <c:v>1.6131158000000001</c:v>
                </c:pt>
                <c:pt idx="83">
                  <c:v>13.6797678</c:v>
                </c:pt>
                <c:pt idx="84">
                  <c:v>6.6370946000000002</c:v>
                </c:pt>
                <c:pt idx="85">
                  <c:v>0.27329169999999997</c:v>
                </c:pt>
                <c:pt idx="86">
                  <c:v>83.036411000000001</c:v>
                </c:pt>
                <c:pt idx="87">
                  <c:v>319.49902679999997</c:v>
                </c:pt>
                <c:pt idx="88">
                  <c:v>321.12903169999998</c:v>
                </c:pt>
                <c:pt idx="89">
                  <c:v>312.33659410000001</c:v>
                </c:pt>
                <c:pt idx="90">
                  <c:v>335.84856479999996</c:v>
                </c:pt>
                <c:pt idx="91">
                  <c:v>375.87300089999997</c:v>
                </c:pt>
                <c:pt idx="92">
                  <c:v>327.37079590000002</c:v>
                </c:pt>
                <c:pt idx="93">
                  <c:v>392.35130669999995</c:v>
                </c:pt>
                <c:pt idx="94">
                  <c:v>328.90792299999998</c:v>
                </c:pt>
                <c:pt idx="95">
                  <c:v>385.65711460000006</c:v>
                </c:pt>
                <c:pt idx="96">
                  <c:v>318.10654160000007</c:v>
                </c:pt>
                <c:pt idx="97">
                  <c:v>151.32913399999998</c:v>
                </c:pt>
                <c:pt idx="98">
                  <c:v>327.11064220000003</c:v>
                </c:pt>
                <c:pt idx="99">
                  <c:v>585.25345549999997</c:v>
                </c:pt>
                <c:pt idx="100">
                  <c:v>546.18379370000002</c:v>
                </c:pt>
                <c:pt idx="101">
                  <c:v>1339.7173246</c:v>
                </c:pt>
                <c:pt idx="102">
                  <c:v>684.56596439999998</c:v>
                </c:pt>
                <c:pt idx="103">
                  <c:v>767.19906809999986</c:v>
                </c:pt>
                <c:pt idx="104">
                  <c:v>764.50407769999993</c:v>
                </c:pt>
                <c:pt idx="105">
                  <c:v>813.08360319999997</c:v>
                </c:pt>
                <c:pt idx="106">
                  <c:v>778.20032689999994</c:v>
                </c:pt>
                <c:pt idx="107">
                  <c:v>766.50777589999996</c:v>
                </c:pt>
                <c:pt idx="108">
                  <c:v>793.88445039999999</c:v>
                </c:pt>
                <c:pt idx="109">
                  <c:v>887.67475589999992</c:v>
                </c:pt>
                <c:pt idx="110">
                  <c:v>465.80926720000002</c:v>
                </c:pt>
                <c:pt idx="111">
                  <c:v>807.18571840000004</c:v>
                </c:pt>
                <c:pt idx="112">
                  <c:v>798.39087879999988</c:v>
                </c:pt>
                <c:pt idx="113">
                  <c:v>570.09544640000001</c:v>
                </c:pt>
                <c:pt idx="114">
                  <c:v>581.19448709999995</c:v>
                </c:pt>
                <c:pt idx="115">
                  <c:v>64.3560542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80-4D44-B5FB-C7344E7BB008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rgbClr val="7030A0"/>
            </a:solidFill>
            <a:ln w="28575">
              <a:solidFill>
                <a:srgbClr val="7030A0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H$2:$H$117</c:f>
              <c:numCache>
                <c:formatCode>#,##0</c:formatCode>
                <c:ptCount val="1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400.22956850000003</c:v>
                </c:pt>
                <c:pt idx="60">
                  <c:v>1556.4455026000001</c:v>
                </c:pt>
                <c:pt idx="61">
                  <c:v>2244.8974219000002</c:v>
                </c:pt>
                <c:pt idx="62">
                  <c:v>2244.8974219000002</c:v>
                </c:pt>
                <c:pt idx="63">
                  <c:v>2244.8974219000002</c:v>
                </c:pt>
                <c:pt idx="64">
                  <c:v>2244.8974219000002</c:v>
                </c:pt>
                <c:pt idx="65">
                  <c:v>2244.8974219000002</c:v>
                </c:pt>
                <c:pt idx="66">
                  <c:v>2244.8974219000002</c:v>
                </c:pt>
                <c:pt idx="67">
                  <c:v>2244.8974219000002</c:v>
                </c:pt>
                <c:pt idx="68">
                  <c:v>2244.8974219000002</c:v>
                </c:pt>
                <c:pt idx="69">
                  <c:v>2244.8974219000002</c:v>
                </c:pt>
                <c:pt idx="70">
                  <c:v>2244.8974219000002</c:v>
                </c:pt>
                <c:pt idx="71">
                  <c:v>1965.4433214000001</c:v>
                </c:pt>
                <c:pt idx="72">
                  <c:v>864.93928670000003</c:v>
                </c:pt>
                <c:pt idx="73">
                  <c:v>23.436795700000001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478.10597619999999</c:v>
                </c:pt>
                <c:pt idx="100">
                  <c:v>1650.1197104</c:v>
                </c:pt>
                <c:pt idx="101">
                  <c:v>3812.0408710999995</c:v>
                </c:pt>
                <c:pt idx="102">
                  <c:v>7378.7402345999999</c:v>
                </c:pt>
                <c:pt idx="103">
                  <c:v>8482.8415444000002</c:v>
                </c:pt>
                <c:pt idx="104">
                  <c:v>8836.8259003000003</c:v>
                </c:pt>
                <c:pt idx="105">
                  <c:v>8178.6350893999997</c:v>
                </c:pt>
                <c:pt idx="106">
                  <c:v>3139.0999053</c:v>
                </c:pt>
                <c:pt idx="107">
                  <c:v>1.36727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F80-4D44-B5FB-C7344E7BB008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Apple search</c:v>
                </c:pt>
              </c:strCache>
            </c:strRef>
          </c:tx>
          <c:spPr>
            <a:solidFill>
              <a:schemeClr val="tx1"/>
            </a:solidFill>
            <a:ln w="28575">
              <a:solidFill>
                <a:schemeClr val="tx1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I$2:$I$117</c:f>
              <c:numCache>
                <c:formatCode>#,##0</c:formatCode>
                <c:ptCount val="116"/>
                <c:pt idx="0">
                  <c:v>87.241109599999987</c:v>
                </c:pt>
                <c:pt idx="1">
                  <c:v>361.70319419999998</c:v>
                </c:pt>
                <c:pt idx="2">
                  <c:v>353.03669630000002</c:v>
                </c:pt>
                <c:pt idx="3">
                  <c:v>137.37159730000002</c:v>
                </c:pt>
                <c:pt idx="4">
                  <c:v>79.717743999999996</c:v>
                </c:pt>
                <c:pt idx="5">
                  <c:v>113.3009088</c:v>
                </c:pt>
                <c:pt idx="6">
                  <c:v>157.72474189999997</c:v>
                </c:pt>
                <c:pt idx="7">
                  <c:v>151.46015940000001</c:v>
                </c:pt>
                <c:pt idx="8">
                  <c:v>134.5218477</c:v>
                </c:pt>
                <c:pt idx="9">
                  <c:v>127.42263429999998</c:v>
                </c:pt>
                <c:pt idx="10">
                  <c:v>131.03776959999999</c:v>
                </c:pt>
                <c:pt idx="11">
                  <c:v>138.89921460000002</c:v>
                </c:pt>
                <c:pt idx="12">
                  <c:v>192.96720330000002</c:v>
                </c:pt>
                <c:pt idx="13">
                  <c:v>240.44719620000001</c:v>
                </c:pt>
                <c:pt idx="14">
                  <c:v>227.8997755</c:v>
                </c:pt>
                <c:pt idx="15">
                  <c:v>221.88772940000001</c:v>
                </c:pt>
                <c:pt idx="16">
                  <c:v>223.26826980000004</c:v>
                </c:pt>
                <c:pt idx="17">
                  <c:v>197.08539200000001</c:v>
                </c:pt>
                <c:pt idx="18">
                  <c:v>152.13391150000001</c:v>
                </c:pt>
                <c:pt idx="19">
                  <c:v>129.6713699</c:v>
                </c:pt>
                <c:pt idx="20">
                  <c:v>131.90407429999999</c:v>
                </c:pt>
                <c:pt idx="21">
                  <c:v>129.3366643</c:v>
                </c:pt>
                <c:pt idx="22">
                  <c:v>146.7809604</c:v>
                </c:pt>
                <c:pt idx="23">
                  <c:v>148.93341959999998</c:v>
                </c:pt>
                <c:pt idx="24">
                  <c:v>150.55378430000002</c:v>
                </c:pt>
                <c:pt idx="25">
                  <c:v>125.23055429999999</c:v>
                </c:pt>
                <c:pt idx="26">
                  <c:v>104.1415746</c:v>
                </c:pt>
                <c:pt idx="27">
                  <c:v>121.89979269999999</c:v>
                </c:pt>
                <c:pt idx="28">
                  <c:v>139.12944920000001</c:v>
                </c:pt>
                <c:pt idx="29">
                  <c:v>121.58858889999999</c:v>
                </c:pt>
                <c:pt idx="30">
                  <c:v>101.18534299999999</c:v>
                </c:pt>
                <c:pt idx="31">
                  <c:v>116.50059900000001</c:v>
                </c:pt>
                <c:pt idx="32">
                  <c:v>116.52450940000001</c:v>
                </c:pt>
                <c:pt idx="33">
                  <c:v>131.62771949999998</c:v>
                </c:pt>
                <c:pt idx="34">
                  <c:v>130.51288250000002</c:v>
                </c:pt>
                <c:pt idx="35">
                  <c:v>125.5507959</c:v>
                </c:pt>
                <c:pt idx="36">
                  <c:v>88.446981800000003</c:v>
                </c:pt>
                <c:pt idx="37">
                  <c:v>117.9636241</c:v>
                </c:pt>
                <c:pt idx="38">
                  <c:v>140.38234699999998</c:v>
                </c:pt>
                <c:pt idx="39">
                  <c:v>117.9966313</c:v>
                </c:pt>
                <c:pt idx="40">
                  <c:v>88.511114000000006</c:v>
                </c:pt>
                <c:pt idx="41">
                  <c:v>92.280410000000003</c:v>
                </c:pt>
                <c:pt idx="42">
                  <c:v>69.642464799999999</c:v>
                </c:pt>
                <c:pt idx="43">
                  <c:v>15.803955800000001</c:v>
                </c:pt>
                <c:pt idx="44">
                  <c:v>0.13444030000000001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36.703683299999994</c:v>
                </c:pt>
                <c:pt idx="60">
                  <c:v>144.89278199999998</c:v>
                </c:pt>
                <c:pt idx="61">
                  <c:v>186.73647400000002</c:v>
                </c:pt>
                <c:pt idx="62">
                  <c:v>152.30577310000001</c:v>
                </c:pt>
                <c:pt idx="63">
                  <c:v>145.11194310000002</c:v>
                </c:pt>
                <c:pt idx="64">
                  <c:v>146.5285982</c:v>
                </c:pt>
                <c:pt idx="65">
                  <c:v>180.70689050000001</c:v>
                </c:pt>
                <c:pt idx="66">
                  <c:v>198.29142539999998</c:v>
                </c:pt>
                <c:pt idx="67">
                  <c:v>215.65191010000004</c:v>
                </c:pt>
                <c:pt idx="68">
                  <c:v>247.7853628</c:v>
                </c:pt>
                <c:pt idx="69">
                  <c:v>258.77947760000001</c:v>
                </c:pt>
                <c:pt idx="70">
                  <c:v>256.23111979999999</c:v>
                </c:pt>
                <c:pt idx="71">
                  <c:v>231.75396170000002</c:v>
                </c:pt>
                <c:pt idx="72">
                  <c:v>206.76189840000001</c:v>
                </c:pt>
                <c:pt idx="73">
                  <c:v>173.30051570000001</c:v>
                </c:pt>
                <c:pt idx="74">
                  <c:v>168.60229049999998</c:v>
                </c:pt>
                <c:pt idx="75">
                  <c:v>166.82721709999998</c:v>
                </c:pt>
                <c:pt idx="76">
                  <c:v>150.735117</c:v>
                </c:pt>
                <c:pt idx="77">
                  <c:v>167.9596014</c:v>
                </c:pt>
                <c:pt idx="78">
                  <c:v>211.9234505</c:v>
                </c:pt>
                <c:pt idx="79">
                  <c:v>270.99332019999997</c:v>
                </c:pt>
                <c:pt idx="80">
                  <c:v>289.88448039999997</c:v>
                </c:pt>
                <c:pt idx="81">
                  <c:v>270.29483310000001</c:v>
                </c:pt>
                <c:pt idx="82">
                  <c:v>226.18888619999998</c:v>
                </c:pt>
                <c:pt idx="83">
                  <c:v>172.56455969999999</c:v>
                </c:pt>
                <c:pt idx="84">
                  <c:v>140.36718339999999</c:v>
                </c:pt>
                <c:pt idx="85">
                  <c:v>121.51392380000001</c:v>
                </c:pt>
                <c:pt idx="86">
                  <c:v>127.04212399999999</c:v>
                </c:pt>
                <c:pt idx="87">
                  <c:v>165.8343399</c:v>
                </c:pt>
                <c:pt idx="88">
                  <c:v>200.68746109999998</c:v>
                </c:pt>
                <c:pt idx="89">
                  <c:v>207.55725699999999</c:v>
                </c:pt>
                <c:pt idx="90">
                  <c:v>206.70509330000002</c:v>
                </c:pt>
                <c:pt idx="91">
                  <c:v>210.86018599999997</c:v>
                </c:pt>
                <c:pt idx="92">
                  <c:v>211.3572489</c:v>
                </c:pt>
                <c:pt idx="93">
                  <c:v>216.81455040000003</c:v>
                </c:pt>
                <c:pt idx="94">
                  <c:v>233.81339750000001</c:v>
                </c:pt>
                <c:pt idx="95">
                  <c:v>271.40492599999999</c:v>
                </c:pt>
                <c:pt idx="96">
                  <c:v>289.6915846</c:v>
                </c:pt>
                <c:pt idx="97">
                  <c:v>302.95308590000002</c:v>
                </c:pt>
                <c:pt idx="98">
                  <c:v>275.66528790000001</c:v>
                </c:pt>
                <c:pt idx="99">
                  <c:v>238.38269449999999</c:v>
                </c:pt>
                <c:pt idx="100">
                  <c:v>302.15716259999999</c:v>
                </c:pt>
                <c:pt idx="101">
                  <c:v>452.75532989999999</c:v>
                </c:pt>
                <c:pt idx="102">
                  <c:v>547.9490217</c:v>
                </c:pt>
                <c:pt idx="103">
                  <c:v>563.8107761</c:v>
                </c:pt>
                <c:pt idx="104">
                  <c:v>440.97345849999999</c:v>
                </c:pt>
                <c:pt idx="105">
                  <c:v>362.97045859999997</c:v>
                </c:pt>
                <c:pt idx="106">
                  <c:v>366.30365750000004</c:v>
                </c:pt>
                <c:pt idx="107">
                  <c:v>348.30530220000003</c:v>
                </c:pt>
                <c:pt idx="108">
                  <c:v>406.71950300000003</c:v>
                </c:pt>
                <c:pt idx="109">
                  <c:v>467.65359449999994</c:v>
                </c:pt>
                <c:pt idx="110">
                  <c:v>514.3143235</c:v>
                </c:pt>
                <c:pt idx="111">
                  <c:v>813.39097839999999</c:v>
                </c:pt>
                <c:pt idx="112">
                  <c:v>998.78533059999995</c:v>
                </c:pt>
                <c:pt idx="113">
                  <c:v>878.12632339999993</c:v>
                </c:pt>
                <c:pt idx="114">
                  <c:v>731.18373139999994</c:v>
                </c:pt>
                <c:pt idx="115">
                  <c:v>93.5730915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F80-4D44-B5FB-C7344E7BB008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Facebook</c:v>
                </c:pt>
              </c:strCache>
            </c:strRef>
          </c:tx>
          <c:spPr>
            <a:solidFill>
              <a:schemeClr val="accent2"/>
            </a:solidFill>
            <a:ln w="28575">
              <a:solidFill>
                <a:schemeClr val="accent2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J$2:$J$117</c:f>
              <c:numCache>
                <c:formatCode>#,##0</c:formatCode>
                <c:ptCount val="116"/>
                <c:pt idx="0">
                  <c:v>2484.2573757</c:v>
                </c:pt>
                <c:pt idx="1">
                  <c:v>4879.1952770999997</c:v>
                </c:pt>
                <c:pt idx="2">
                  <c:v>1532.2330281999998</c:v>
                </c:pt>
                <c:pt idx="3">
                  <c:v>780.17935740000007</c:v>
                </c:pt>
                <c:pt idx="4">
                  <c:v>1918.6694291999997</c:v>
                </c:pt>
                <c:pt idx="5">
                  <c:v>1840.3477395999998</c:v>
                </c:pt>
                <c:pt idx="6">
                  <c:v>1836.7354111000002</c:v>
                </c:pt>
                <c:pt idx="7">
                  <c:v>1998.7452784999998</c:v>
                </c:pt>
                <c:pt idx="8">
                  <c:v>2097.1163741999999</c:v>
                </c:pt>
                <c:pt idx="9">
                  <c:v>2349.4971203</c:v>
                </c:pt>
                <c:pt idx="10">
                  <c:v>2478.3746944999998</c:v>
                </c:pt>
                <c:pt idx="11">
                  <c:v>2584.3002079999997</c:v>
                </c:pt>
                <c:pt idx="12">
                  <c:v>2429.4248231000006</c:v>
                </c:pt>
                <c:pt idx="13">
                  <c:v>1969.9694040999998</c:v>
                </c:pt>
                <c:pt idx="14">
                  <c:v>1937.4887575999999</c:v>
                </c:pt>
                <c:pt idx="15">
                  <c:v>2103.1260609000001</c:v>
                </c:pt>
                <c:pt idx="16">
                  <c:v>2141.6320211000002</c:v>
                </c:pt>
                <c:pt idx="17">
                  <c:v>1775.6075894999999</c:v>
                </c:pt>
                <c:pt idx="18">
                  <c:v>2070.7993368000002</c:v>
                </c:pt>
                <c:pt idx="19">
                  <c:v>2431.3897544000001</c:v>
                </c:pt>
                <c:pt idx="20">
                  <c:v>2153.4779165</c:v>
                </c:pt>
                <c:pt idx="21">
                  <c:v>1754.7016008999999</c:v>
                </c:pt>
                <c:pt idx="22">
                  <c:v>1511.2597589000002</c:v>
                </c:pt>
                <c:pt idx="23">
                  <c:v>1574.4450129000002</c:v>
                </c:pt>
                <c:pt idx="24">
                  <c:v>2495.2890921999997</c:v>
                </c:pt>
                <c:pt idx="25">
                  <c:v>4784.1186379999999</c:v>
                </c:pt>
                <c:pt idx="26">
                  <c:v>6703.4811137000006</c:v>
                </c:pt>
                <c:pt idx="27">
                  <c:v>6949.8047307999996</c:v>
                </c:pt>
                <c:pt idx="28">
                  <c:v>5623.5997985000004</c:v>
                </c:pt>
                <c:pt idx="29">
                  <c:v>3089.9772510000003</c:v>
                </c:pt>
                <c:pt idx="30">
                  <c:v>2647.1183511999998</c:v>
                </c:pt>
                <c:pt idx="31">
                  <c:v>2433.6420044000001</c:v>
                </c:pt>
                <c:pt idx="32">
                  <c:v>2409.0488582999997</c:v>
                </c:pt>
                <c:pt idx="33">
                  <c:v>2997.4524168000003</c:v>
                </c:pt>
                <c:pt idx="34">
                  <c:v>2855.8185730999999</c:v>
                </c:pt>
                <c:pt idx="35">
                  <c:v>2310.9316083999997</c:v>
                </c:pt>
                <c:pt idx="36">
                  <c:v>1841.5640527</c:v>
                </c:pt>
                <c:pt idx="37">
                  <c:v>5726.194499199999</c:v>
                </c:pt>
                <c:pt idx="38">
                  <c:v>6710.4257486999995</c:v>
                </c:pt>
                <c:pt idx="39">
                  <c:v>4410.1163826000002</c:v>
                </c:pt>
                <c:pt idx="40">
                  <c:v>2224.8470962999995</c:v>
                </c:pt>
                <c:pt idx="41">
                  <c:v>448.0234519</c:v>
                </c:pt>
                <c:pt idx="42">
                  <c:v>43.750858100000002</c:v>
                </c:pt>
                <c:pt idx="43">
                  <c:v>11.340352600000001</c:v>
                </c:pt>
                <c:pt idx="44">
                  <c:v>7.4162873000000005</c:v>
                </c:pt>
                <c:pt idx="45">
                  <c:v>5.3410230999999992</c:v>
                </c:pt>
                <c:pt idx="46">
                  <c:v>9.8722996999999992</c:v>
                </c:pt>
                <c:pt idx="47">
                  <c:v>31.794595099999999</c:v>
                </c:pt>
                <c:pt idx="48">
                  <c:v>13.3466288</c:v>
                </c:pt>
                <c:pt idx="49">
                  <c:v>7.5401214000000003</c:v>
                </c:pt>
                <c:pt idx="50">
                  <c:v>16.9335837</c:v>
                </c:pt>
                <c:pt idx="51">
                  <c:v>5.3048643000000002</c:v>
                </c:pt>
                <c:pt idx="52">
                  <c:v>8.0597302000000006</c:v>
                </c:pt>
                <c:pt idx="53">
                  <c:v>103.87805019999999</c:v>
                </c:pt>
                <c:pt idx="54">
                  <c:v>218.0514034</c:v>
                </c:pt>
                <c:pt idx="55">
                  <c:v>276.64922139999999</c:v>
                </c:pt>
                <c:pt idx="56">
                  <c:v>464.30209190000005</c:v>
                </c:pt>
                <c:pt idx="57">
                  <c:v>749.41433510000002</c:v>
                </c:pt>
                <c:pt idx="58">
                  <c:v>967.93527479999989</c:v>
                </c:pt>
                <c:pt idx="59">
                  <c:v>1350.3299700999999</c:v>
                </c:pt>
                <c:pt idx="60">
                  <c:v>977.78346090000002</c:v>
                </c:pt>
                <c:pt idx="61">
                  <c:v>508.50680510000001</c:v>
                </c:pt>
                <c:pt idx="62">
                  <c:v>632.48112049999997</c:v>
                </c:pt>
                <c:pt idx="63">
                  <c:v>1093.9419561000002</c:v>
                </c:pt>
                <c:pt idx="64">
                  <c:v>1878.5702627999999</c:v>
                </c:pt>
                <c:pt idx="65">
                  <c:v>2446.9925951000005</c:v>
                </c:pt>
                <c:pt idx="66">
                  <c:v>3469.6032143000002</c:v>
                </c:pt>
                <c:pt idx="67">
                  <c:v>4017.1224393999992</c:v>
                </c:pt>
                <c:pt idx="68">
                  <c:v>4403.7983112000011</c:v>
                </c:pt>
                <c:pt idx="69">
                  <c:v>4452.2992820999998</c:v>
                </c:pt>
                <c:pt idx="70">
                  <c:v>4279.7891041000003</c:v>
                </c:pt>
                <c:pt idx="71">
                  <c:v>4223.4153943000001</c:v>
                </c:pt>
                <c:pt idx="72">
                  <c:v>3746.2003489999997</c:v>
                </c:pt>
                <c:pt idx="73">
                  <c:v>2318.4656076000001</c:v>
                </c:pt>
                <c:pt idx="74">
                  <c:v>728.62003230000005</c:v>
                </c:pt>
                <c:pt idx="75">
                  <c:v>132.0254391</c:v>
                </c:pt>
                <c:pt idx="76">
                  <c:v>145.19356849999997</c:v>
                </c:pt>
                <c:pt idx="77">
                  <c:v>179.66431599999999</c:v>
                </c:pt>
                <c:pt idx="78">
                  <c:v>205.6893221</c:v>
                </c:pt>
                <c:pt idx="79">
                  <c:v>243.05033359999999</c:v>
                </c:pt>
                <c:pt idx="80">
                  <c:v>419.1501571</c:v>
                </c:pt>
                <c:pt idx="81">
                  <c:v>486.84302630000002</c:v>
                </c:pt>
                <c:pt idx="82">
                  <c:v>311.23714599999994</c:v>
                </c:pt>
                <c:pt idx="83">
                  <c:v>132.9947726</c:v>
                </c:pt>
                <c:pt idx="84">
                  <c:v>105.27862020000001</c:v>
                </c:pt>
                <c:pt idx="85">
                  <c:v>67.166270400000002</c:v>
                </c:pt>
                <c:pt idx="86">
                  <c:v>55.372340399999992</c:v>
                </c:pt>
                <c:pt idx="87">
                  <c:v>96.612702300000009</c:v>
                </c:pt>
                <c:pt idx="88">
                  <c:v>159.48729839999999</c:v>
                </c:pt>
                <c:pt idx="89">
                  <c:v>184.4780313</c:v>
                </c:pt>
                <c:pt idx="90">
                  <c:v>186.56523369999999</c:v>
                </c:pt>
                <c:pt idx="91">
                  <c:v>296.43676289999996</c:v>
                </c:pt>
                <c:pt idx="92">
                  <c:v>320.13994819999999</c:v>
                </c:pt>
                <c:pt idx="93">
                  <c:v>306.51816660000003</c:v>
                </c:pt>
                <c:pt idx="94">
                  <c:v>300.58118580000001</c:v>
                </c:pt>
                <c:pt idx="95">
                  <c:v>388.45489020000002</c:v>
                </c:pt>
                <c:pt idx="96">
                  <c:v>380.8691877</c:v>
                </c:pt>
                <c:pt idx="97">
                  <c:v>510.89595389999999</c:v>
                </c:pt>
                <c:pt idx="98">
                  <c:v>722.71997210000006</c:v>
                </c:pt>
                <c:pt idx="99">
                  <c:v>806.26798020000001</c:v>
                </c:pt>
                <c:pt idx="100">
                  <c:v>868.26866999999993</c:v>
                </c:pt>
                <c:pt idx="101">
                  <c:v>1173.3700106000001</c:v>
                </c:pt>
                <c:pt idx="102">
                  <c:v>1657.5085472999997</c:v>
                </c:pt>
                <c:pt idx="103">
                  <c:v>1917.1133931999998</c:v>
                </c:pt>
                <c:pt idx="104">
                  <c:v>1839.5701988000001</c:v>
                </c:pt>
                <c:pt idx="105">
                  <c:v>1621.0700703</c:v>
                </c:pt>
                <c:pt idx="106">
                  <c:v>1471.3966965</c:v>
                </c:pt>
                <c:pt idx="107">
                  <c:v>1470.4154091999999</c:v>
                </c:pt>
                <c:pt idx="108">
                  <c:v>1411.6204484</c:v>
                </c:pt>
                <c:pt idx="109">
                  <c:v>1540.1315302</c:v>
                </c:pt>
                <c:pt idx="110">
                  <c:v>1797.7519376</c:v>
                </c:pt>
                <c:pt idx="111">
                  <c:v>1846.5279617000001</c:v>
                </c:pt>
                <c:pt idx="112">
                  <c:v>1730.8326227</c:v>
                </c:pt>
                <c:pt idx="113">
                  <c:v>1827.2248122999999</c:v>
                </c:pt>
                <c:pt idx="114">
                  <c:v>1736.4790026999999</c:v>
                </c:pt>
                <c:pt idx="115">
                  <c:v>207.95947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80-4D44-B5FB-C7344E7BB008}"/>
            </c:ext>
          </c:extLst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Google</c:v>
                </c:pt>
              </c:strCache>
            </c:strRef>
          </c:tx>
          <c:spPr>
            <a:solidFill>
              <a:schemeClr val="accent4">
                <a:lumMod val="50000"/>
              </a:schemeClr>
            </a:solidFill>
            <a:ln w="28575">
              <a:solidFill>
                <a:schemeClr val="accent4">
                  <a:lumMod val="50000"/>
                </a:schemeClr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K$2:$K$117</c:f>
              <c:numCache>
                <c:formatCode>#,##0</c:formatCode>
                <c:ptCount val="116"/>
                <c:pt idx="0">
                  <c:v>1707.4057617999999</c:v>
                </c:pt>
                <c:pt idx="1">
                  <c:v>3337.7387319999998</c:v>
                </c:pt>
                <c:pt idx="2">
                  <c:v>1364.3438934999997</c:v>
                </c:pt>
                <c:pt idx="3">
                  <c:v>715.24164230000008</c:v>
                </c:pt>
                <c:pt idx="4">
                  <c:v>1427.5500881</c:v>
                </c:pt>
                <c:pt idx="5">
                  <c:v>1236.1013490999999</c:v>
                </c:pt>
                <c:pt idx="6">
                  <c:v>1056.3099293</c:v>
                </c:pt>
                <c:pt idx="7">
                  <c:v>959.31783159999986</c:v>
                </c:pt>
                <c:pt idx="8">
                  <c:v>1334.4466480000001</c:v>
                </c:pt>
                <c:pt idx="9">
                  <c:v>1760.1807055000002</c:v>
                </c:pt>
                <c:pt idx="10">
                  <c:v>1597.4886116999999</c:v>
                </c:pt>
                <c:pt idx="11">
                  <c:v>1292.2868745999999</c:v>
                </c:pt>
                <c:pt idx="12">
                  <c:v>1257.8116471000001</c:v>
                </c:pt>
                <c:pt idx="13">
                  <c:v>1405.6717286000001</c:v>
                </c:pt>
                <c:pt idx="14">
                  <c:v>1365.4039409</c:v>
                </c:pt>
                <c:pt idx="15">
                  <c:v>1282.2479823000001</c:v>
                </c:pt>
                <c:pt idx="16">
                  <c:v>1179.2936253</c:v>
                </c:pt>
                <c:pt idx="17">
                  <c:v>1293.5072934000002</c:v>
                </c:pt>
                <c:pt idx="18">
                  <c:v>1420.3232078999999</c:v>
                </c:pt>
                <c:pt idx="19">
                  <c:v>1483.7280739999999</c:v>
                </c:pt>
                <c:pt idx="20">
                  <c:v>1642.9469986999998</c:v>
                </c:pt>
                <c:pt idx="21">
                  <c:v>1628.9453344000001</c:v>
                </c:pt>
                <c:pt idx="22">
                  <c:v>1669.7749630000001</c:v>
                </c:pt>
                <c:pt idx="23">
                  <c:v>1484.0435571000003</c:v>
                </c:pt>
                <c:pt idx="24">
                  <c:v>1560.8270499</c:v>
                </c:pt>
                <c:pt idx="25">
                  <c:v>2268.1718062999998</c:v>
                </c:pt>
                <c:pt idx="26">
                  <c:v>2741.5282504999996</c:v>
                </c:pt>
                <c:pt idx="27">
                  <c:v>3070.5802271000002</c:v>
                </c:pt>
                <c:pt idx="28">
                  <c:v>2571.0050160000001</c:v>
                </c:pt>
                <c:pt idx="29">
                  <c:v>2386.7586379999998</c:v>
                </c:pt>
                <c:pt idx="30">
                  <c:v>2515.8132191</c:v>
                </c:pt>
                <c:pt idx="31">
                  <c:v>2251.5673575999999</c:v>
                </c:pt>
                <c:pt idx="32">
                  <c:v>2300.1145492999999</c:v>
                </c:pt>
                <c:pt idx="33">
                  <c:v>3280.0022383</c:v>
                </c:pt>
                <c:pt idx="34">
                  <c:v>3253.4342918999996</c:v>
                </c:pt>
                <c:pt idx="35">
                  <c:v>2765.4474442000001</c:v>
                </c:pt>
                <c:pt idx="36">
                  <c:v>1499.0582270000002</c:v>
                </c:pt>
                <c:pt idx="37">
                  <c:v>2901.4471132999997</c:v>
                </c:pt>
                <c:pt idx="38">
                  <c:v>4608.9010562000003</c:v>
                </c:pt>
                <c:pt idx="39">
                  <c:v>4338.9091731000008</c:v>
                </c:pt>
                <c:pt idx="40">
                  <c:v>1767.3841165000001</c:v>
                </c:pt>
                <c:pt idx="41">
                  <c:v>283.5046997</c:v>
                </c:pt>
                <c:pt idx="42">
                  <c:v>21.006883399999996</c:v>
                </c:pt>
                <c:pt idx="43">
                  <c:v>1.9203000000000001E-2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100.290255</c:v>
                </c:pt>
                <c:pt idx="57">
                  <c:v>392.41316929999999</c:v>
                </c:pt>
                <c:pt idx="58">
                  <c:v>585.24048190000008</c:v>
                </c:pt>
                <c:pt idx="59">
                  <c:v>801.40245760000005</c:v>
                </c:pt>
                <c:pt idx="60">
                  <c:v>1162.0288929000001</c:v>
                </c:pt>
                <c:pt idx="61">
                  <c:v>1453.0031900000001</c:v>
                </c:pt>
                <c:pt idx="62">
                  <c:v>1300.7733335</c:v>
                </c:pt>
                <c:pt idx="63">
                  <c:v>783.61946799999987</c:v>
                </c:pt>
                <c:pt idx="64">
                  <c:v>689.14827209999999</c:v>
                </c:pt>
                <c:pt idx="65">
                  <c:v>1032.4787739000001</c:v>
                </c:pt>
                <c:pt idx="66">
                  <c:v>1688.9561894000001</c:v>
                </c:pt>
                <c:pt idx="67">
                  <c:v>2699.7234036</c:v>
                </c:pt>
                <c:pt idx="68">
                  <c:v>3229.2883613000004</c:v>
                </c:pt>
                <c:pt idx="69">
                  <c:v>3816.6396600999997</c:v>
                </c:pt>
                <c:pt idx="70">
                  <c:v>3679.9503623000001</c:v>
                </c:pt>
                <c:pt idx="71">
                  <c:v>3370.9642500999998</c:v>
                </c:pt>
                <c:pt idx="72">
                  <c:v>3144.3888328000003</c:v>
                </c:pt>
                <c:pt idx="73">
                  <c:v>2467.8333847999997</c:v>
                </c:pt>
                <c:pt idx="74">
                  <c:v>866.00630480000007</c:v>
                </c:pt>
                <c:pt idx="75">
                  <c:v>255.90930600000002</c:v>
                </c:pt>
                <c:pt idx="76">
                  <c:v>182.19441119999999</c:v>
                </c:pt>
                <c:pt idx="77">
                  <c:v>226.1162764</c:v>
                </c:pt>
                <c:pt idx="78">
                  <c:v>413.0702258</c:v>
                </c:pt>
                <c:pt idx="79">
                  <c:v>728.33632209999996</c:v>
                </c:pt>
                <c:pt idx="80">
                  <c:v>967.86082659999988</c:v>
                </c:pt>
                <c:pt idx="81">
                  <c:v>1282.4092000000001</c:v>
                </c:pt>
                <c:pt idx="82">
                  <c:v>1053.3723814</c:v>
                </c:pt>
                <c:pt idx="83">
                  <c:v>584.13252280000006</c:v>
                </c:pt>
                <c:pt idx="84">
                  <c:v>223.60057659999998</c:v>
                </c:pt>
                <c:pt idx="85">
                  <c:v>157.33289280000002</c:v>
                </c:pt>
                <c:pt idx="86">
                  <c:v>206.7786141</c:v>
                </c:pt>
                <c:pt idx="87">
                  <c:v>389.59256849999997</c:v>
                </c:pt>
                <c:pt idx="88">
                  <c:v>444.04823459999994</c:v>
                </c:pt>
                <c:pt idx="89">
                  <c:v>486.2153624</c:v>
                </c:pt>
                <c:pt idx="90">
                  <c:v>446.12950539999997</c:v>
                </c:pt>
                <c:pt idx="91">
                  <c:v>472.26427550000005</c:v>
                </c:pt>
                <c:pt idx="92">
                  <c:v>633.82635549999998</c:v>
                </c:pt>
                <c:pt idx="93">
                  <c:v>1175.1407260999999</c:v>
                </c:pt>
                <c:pt idx="94">
                  <c:v>1386.2241368</c:v>
                </c:pt>
                <c:pt idx="95">
                  <c:v>1571.7497331000002</c:v>
                </c:pt>
                <c:pt idx="96">
                  <c:v>1781.6877474</c:v>
                </c:pt>
                <c:pt idx="97">
                  <c:v>1956.0769098999999</c:v>
                </c:pt>
                <c:pt idx="98">
                  <c:v>1853.2466670000001</c:v>
                </c:pt>
                <c:pt idx="99">
                  <c:v>1194.7591345000001</c:v>
                </c:pt>
                <c:pt idx="100">
                  <c:v>1202.4108564000001</c:v>
                </c:pt>
                <c:pt idx="101">
                  <c:v>1488.6364670999999</c:v>
                </c:pt>
                <c:pt idx="102">
                  <c:v>1984.1156949000001</c:v>
                </c:pt>
                <c:pt idx="103">
                  <c:v>2464.0829787000002</c:v>
                </c:pt>
                <c:pt idx="104">
                  <c:v>2907.6940581000003</c:v>
                </c:pt>
                <c:pt idx="105">
                  <c:v>3094.3351942999998</c:v>
                </c:pt>
                <c:pt idx="106">
                  <c:v>2987.1821497999995</c:v>
                </c:pt>
                <c:pt idx="107">
                  <c:v>3034.0971491</c:v>
                </c:pt>
                <c:pt idx="108">
                  <c:v>2925.2544046000003</c:v>
                </c:pt>
                <c:pt idx="109">
                  <c:v>2835.6751000999998</c:v>
                </c:pt>
                <c:pt idx="110">
                  <c:v>2667.6184309999999</c:v>
                </c:pt>
                <c:pt idx="111">
                  <c:v>1703.8725024</c:v>
                </c:pt>
                <c:pt idx="112">
                  <c:v>1356.9384108000002</c:v>
                </c:pt>
                <c:pt idx="113">
                  <c:v>1340.8177250000001</c:v>
                </c:pt>
                <c:pt idx="114">
                  <c:v>1342.0513579000001</c:v>
                </c:pt>
                <c:pt idx="115">
                  <c:v>209.31690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F80-4D44-B5FB-C7344E7BB0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77514272"/>
        <c:axId val="27751483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ual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B$2:$B$175</c:f>
              <c:numCache>
                <c:formatCode>#,##0</c:formatCode>
                <c:ptCount val="116"/>
                <c:pt idx="0">
                  <c:v>18705</c:v>
                </c:pt>
                <c:pt idx="1">
                  <c:v>20095</c:v>
                </c:pt>
                <c:pt idx="2">
                  <c:v>18123</c:v>
                </c:pt>
                <c:pt idx="3">
                  <c:v>15241</c:v>
                </c:pt>
                <c:pt idx="4">
                  <c:v>18547</c:v>
                </c:pt>
                <c:pt idx="5">
                  <c:v>21903</c:v>
                </c:pt>
                <c:pt idx="6">
                  <c:v>26370</c:v>
                </c:pt>
                <c:pt idx="7">
                  <c:v>28661</c:v>
                </c:pt>
                <c:pt idx="8">
                  <c:v>33628</c:v>
                </c:pt>
                <c:pt idx="9">
                  <c:v>33942</c:v>
                </c:pt>
                <c:pt idx="10">
                  <c:v>35421</c:v>
                </c:pt>
                <c:pt idx="11">
                  <c:v>40751</c:v>
                </c:pt>
                <c:pt idx="12">
                  <c:v>42006</c:v>
                </c:pt>
                <c:pt idx="13">
                  <c:v>44666</c:v>
                </c:pt>
                <c:pt idx="14">
                  <c:v>42550</c:v>
                </c:pt>
                <c:pt idx="15">
                  <c:v>44203</c:v>
                </c:pt>
                <c:pt idx="16">
                  <c:v>43044</c:v>
                </c:pt>
                <c:pt idx="17">
                  <c:v>30653</c:v>
                </c:pt>
                <c:pt idx="18">
                  <c:v>28977</c:v>
                </c:pt>
                <c:pt idx="19">
                  <c:v>29438</c:v>
                </c:pt>
                <c:pt idx="20">
                  <c:v>37462</c:v>
                </c:pt>
                <c:pt idx="21">
                  <c:v>28075</c:v>
                </c:pt>
                <c:pt idx="22">
                  <c:v>24085</c:v>
                </c:pt>
                <c:pt idx="23">
                  <c:v>23492</c:v>
                </c:pt>
                <c:pt idx="24">
                  <c:v>33347</c:v>
                </c:pt>
                <c:pt idx="25">
                  <c:v>37356</c:v>
                </c:pt>
                <c:pt idx="26">
                  <c:v>49361</c:v>
                </c:pt>
                <c:pt idx="27">
                  <c:v>50641</c:v>
                </c:pt>
                <c:pt idx="28">
                  <c:v>46316</c:v>
                </c:pt>
                <c:pt idx="29">
                  <c:v>46456</c:v>
                </c:pt>
                <c:pt idx="30">
                  <c:v>28796</c:v>
                </c:pt>
                <c:pt idx="31">
                  <c:v>29171</c:v>
                </c:pt>
                <c:pt idx="32">
                  <c:v>29478</c:v>
                </c:pt>
                <c:pt idx="33">
                  <c:v>28413</c:v>
                </c:pt>
                <c:pt idx="34">
                  <c:v>27706</c:v>
                </c:pt>
                <c:pt idx="35">
                  <c:v>31161</c:v>
                </c:pt>
                <c:pt idx="36">
                  <c:v>32095</c:v>
                </c:pt>
                <c:pt idx="37">
                  <c:v>32506</c:v>
                </c:pt>
                <c:pt idx="38">
                  <c:v>32281</c:v>
                </c:pt>
                <c:pt idx="39">
                  <c:v>26928</c:v>
                </c:pt>
                <c:pt idx="40">
                  <c:v>15219</c:v>
                </c:pt>
                <c:pt idx="41">
                  <c:v>5545</c:v>
                </c:pt>
                <c:pt idx="42">
                  <c:v>3210</c:v>
                </c:pt>
                <c:pt idx="43">
                  <c:v>2490</c:v>
                </c:pt>
                <c:pt idx="44">
                  <c:v>2328</c:v>
                </c:pt>
                <c:pt idx="45">
                  <c:v>2296</c:v>
                </c:pt>
                <c:pt idx="46">
                  <c:v>2279</c:v>
                </c:pt>
                <c:pt idx="47">
                  <c:v>2595</c:v>
                </c:pt>
                <c:pt idx="48">
                  <c:v>2772</c:v>
                </c:pt>
                <c:pt idx="49">
                  <c:v>3112</c:v>
                </c:pt>
                <c:pt idx="50">
                  <c:v>4004</c:v>
                </c:pt>
                <c:pt idx="51">
                  <c:v>5590</c:v>
                </c:pt>
                <c:pt idx="52">
                  <c:v>5989</c:v>
                </c:pt>
                <c:pt idx="53">
                  <c:v>7195</c:v>
                </c:pt>
                <c:pt idx="54">
                  <c:v>9303</c:v>
                </c:pt>
                <c:pt idx="55">
                  <c:v>9672</c:v>
                </c:pt>
                <c:pt idx="56">
                  <c:v>12235</c:v>
                </c:pt>
                <c:pt idx="57">
                  <c:v>13560</c:v>
                </c:pt>
                <c:pt idx="58">
                  <c:v>15931</c:v>
                </c:pt>
                <c:pt idx="59">
                  <c:v>20312</c:v>
                </c:pt>
                <c:pt idx="60">
                  <c:v>20975</c:v>
                </c:pt>
                <c:pt idx="61">
                  <c:v>21889</c:v>
                </c:pt>
                <c:pt idx="62">
                  <c:v>22669</c:v>
                </c:pt>
                <c:pt idx="63">
                  <c:v>30369</c:v>
                </c:pt>
                <c:pt idx="64">
                  <c:v>28735</c:v>
                </c:pt>
                <c:pt idx="65">
                  <c:v>29155</c:v>
                </c:pt>
                <c:pt idx="66">
                  <c:v>25976</c:v>
                </c:pt>
                <c:pt idx="67">
                  <c:v>32189</c:v>
                </c:pt>
                <c:pt idx="68">
                  <c:v>38032</c:v>
                </c:pt>
                <c:pt idx="69">
                  <c:v>34707</c:v>
                </c:pt>
                <c:pt idx="70">
                  <c:v>32356</c:v>
                </c:pt>
                <c:pt idx="71">
                  <c:v>24598</c:v>
                </c:pt>
                <c:pt idx="72">
                  <c:v>25024</c:v>
                </c:pt>
                <c:pt idx="73">
                  <c:v>14037</c:v>
                </c:pt>
                <c:pt idx="74">
                  <c:v>8835</c:v>
                </c:pt>
                <c:pt idx="75">
                  <c:v>6176</c:v>
                </c:pt>
                <c:pt idx="76">
                  <c:v>6169</c:v>
                </c:pt>
                <c:pt idx="77">
                  <c:v>11518</c:v>
                </c:pt>
                <c:pt idx="78">
                  <c:v>15653</c:v>
                </c:pt>
                <c:pt idx="79">
                  <c:v>11524</c:v>
                </c:pt>
                <c:pt idx="80">
                  <c:v>11850</c:v>
                </c:pt>
                <c:pt idx="81">
                  <c:v>9014</c:v>
                </c:pt>
                <c:pt idx="82">
                  <c:v>6477</c:v>
                </c:pt>
                <c:pt idx="83">
                  <c:v>5393</c:v>
                </c:pt>
                <c:pt idx="84">
                  <c:v>5036</c:v>
                </c:pt>
                <c:pt idx="85">
                  <c:v>5550</c:v>
                </c:pt>
                <c:pt idx="86">
                  <c:v>6838</c:v>
                </c:pt>
                <c:pt idx="87">
                  <c:v>9592</c:v>
                </c:pt>
                <c:pt idx="88">
                  <c:v>8089</c:v>
                </c:pt>
                <c:pt idx="89">
                  <c:v>7777</c:v>
                </c:pt>
                <c:pt idx="90">
                  <c:v>8580</c:v>
                </c:pt>
                <c:pt idx="91">
                  <c:v>8749</c:v>
                </c:pt>
                <c:pt idx="92">
                  <c:v>9747</c:v>
                </c:pt>
                <c:pt idx="93">
                  <c:v>11324</c:v>
                </c:pt>
                <c:pt idx="94">
                  <c:v>16701</c:v>
                </c:pt>
                <c:pt idx="95">
                  <c:v>16647</c:v>
                </c:pt>
                <c:pt idx="96">
                  <c:v>20668</c:v>
                </c:pt>
                <c:pt idx="97">
                  <c:v>19697</c:v>
                </c:pt>
                <c:pt idx="98">
                  <c:v>21174</c:v>
                </c:pt>
                <c:pt idx="99">
                  <c:v>20523</c:v>
                </c:pt>
                <c:pt idx="100">
                  <c:v>22815</c:v>
                </c:pt>
                <c:pt idx="101">
                  <c:v>30985</c:v>
                </c:pt>
                <c:pt idx="102">
                  <c:v>36885</c:v>
                </c:pt>
                <c:pt idx="103">
                  <c:v>34128</c:v>
                </c:pt>
                <c:pt idx="104">
                  <c:v>31756</c:v>
                </c:pt>
                <c:pt idx="105">
                  <c:v>35413</c:v>
                </c:pt>
                <c:pt idx="106">
                  <c:v>36953</c:v>
                </c:pt>
                <c:pt idx="107">
                  <c:v>38833</c:v>
                </c:pt>
                <c:pt idx="108">
                  <c:v>37829</c:v>
                </c:pt>
                <c:pt idx="109">
                  <c:v>36447</c:v>
                </c:pt>
                <c:pt idx="110">
                  <c:v>40866</c:v>
                </c:pt>
                <c:pt idx="111">
                  <c:v>38132</c:v>
                </c:pt>
                <c:pt idx="112">
                  <c:v>38484</c:v>
                </c:pt>
                <c:pt idx="113">
                  <c:v>35839</c:v>
                </c:pt>
                <c:pt idx="114">
                  <c:v>35518</c:v>
                </c:pt>
                <c:pt idx="115">
                  <c:v>3852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17B6-4818-925F-A1C544F085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7514272"/>
        <c:axId val="277514832"/>
      </c:lineChart>
      <c:dateAx>
        <c:axId val="277514272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7514832"/>
        <c:crossesAt val="0"/>
        <c:auto val="0"/>
        <c:lblOffset val="100"/>
        <c:baseTimeUnit val="days"/>
      </c:dateAx>
      <c:valAx>
        <c:axId val="2775148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/>
                  <a:t>Decomps</a:t>
                </a:r>
              </a:p>
            </c:rich>
          </c:tx>
          <c:layout>
            <c:manualLayout>
              <c:xMode val="edge"/>
              <c:yMode val="edge"/>
              <c:x val="3.8435345703054992E-2"/>
              <c:y val="0.386098261534172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7514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irst time activations from model</a:t>
            </a:r>
            <a:endParaRPr lang="en-IN"/>
          </a:p>
        </c:rich>
      </c:tx>
      <c:layout>
        <c:manualLayout>
          <c:xMode val="edge"/>
          <c:yMode val="edge"/>
          <c:x val="0.46789810466706799"/>
          <c:y val="5.91848798045087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758461163752039"/>
          <c:y val="0.10587154523057826"/>
          <c:w val="0.86370781389216877"/>
          <c:h val="0.70497627599232382"/>
        </c:manualLayout>
      </c:layout>
      <c:barChart>
        <c:barDir val="col"/>
        <c:grouping val="stacked"/>
        <c:varyColors val="0"/>
        <c:ser>
          <c:idx val="10"/>
          <c:order val="10"/>
          <c:tx>
            <c:strRef>
              <c:f>Sheet1!$L$1</c:f>
              <c:strCache>
                <c:ptCount val="1"/>
                <c:pt idx="0">
                  <c:v>Other Media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 w="28575">
              <a:solidFill>
                <a:schemeClr val="bg1">
                  <a:lumMod val="50000"/>
                </a:schemeClr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L$2:$L$117</c:f>
              <c:numCache>
                <c:formatCode>#,##0</c:formatCode>
                <c:ptCount val="116"/>
                <c:pt idx="0">
                  <c:v>217.87187280000001</c:v>
                </c:pt>
                <c:pt idx="1">
                  <c:v>517.60616789999995</c:v>
                </c:pt>
                <c:pt idx="2">
                  <c:v>559.91002760000003</c:v>
                </c:pt>
                <c:pt idx="3">
                  <c:v>298.8763945</c:v>
                </c:pt>
                <c:pt idx="4">
                  <c:v>69.106718200000003</c:v>
                </c:pt>
                <c:pt idx="5">
                  <c:v>43.688061200000007</c:v>
                </c:pt>
                <c:pt idx="6">
                  <c:v>43.688061200000007</c:v>
                </c:pt>
                <c:pt idx="7">
                  <c:v>38.395125399999998</c:v>
                </c:pt>
                <c:pt idx="8">
                  <c:v>20.087454699999999</c:v>
                </c:pt>
                <c:pt idx="9">
                  <c:v>15.806402899999998</c:v>
                </c:pt>
                <c:pt idx="10">
                  <c:v>15.690334799999999</c:v>
                </c:pt>
                <c:pt idx="11">
                  <c:v>17.023579599999998</c:v>
                </c:pt>
                <c:pt idx="12">
                  <c:v>67.322615999999996</c:v>
                </c:pt>
                <c:pt idx="13">
                  <c:v>97.197411299999999</c:v>
                </c:pt>
                <c:pt idx="14">
                  <c:v>99.77360259999999</c:v>
                </c:pt>
                <c:pt idx="15">
                  <c:v>99.77360259999999</c:v>
                </c:pt>
                <c:pt idx="16">
                  <c:v>118.27550890000001</c:v>
                </c:pt>
                <c:pt idx="17">
                  <c:v>143.72925759999998</c:v>
                </c:pt>
                <c:pt idx="18">
                  <c:v>147.32174519999998</c:v>
                </c:pt>
                <c:pt idx="19">
                  <c:v>147.32174519999998</c:v>
                </c:pt>
                <c:pt idx="20">
                  <c:v>142.93216050000001</c:v>
                </c:pt>
                <c:pt idx="21">
                  <c:v>116.48698570000002</c:v>
                </c:pt>
                <c:pt idx="22">
                  <c:v>108.30866690000001</c:v>
                </c:pt>
                <c:pt idx="23">
                  <c:v>107.9383564</c:v>
                </c:pt>
                <c:pt idx="24">
                  <c:v>109.8009366</c:v>
                </c:pt>
                <c:pt idx="25">
                  <c:v>180.07009680000002</c:v>
                </c:pt>
                <c:pt idx="26">
                  <c:v>221.80602139999999</c:v>
                </c:pt>
                <c:pt idx="27">
                  <c:v>225.40503299999997</c:v>
                </c:pt>
                <c:pt idx="28">
                  <c:v>225.40503299999997</c:v>
                </c:pt>
                <c:pt idx="29">
                  <c:v>201.0774687</c:v>
                </c:pt>
                <c:pt idx="30">
                  <c:v>148.8636061</c:v>
                </c:pt>
                <c:pt idx="31">
                  <c:v>139.439761</c:v>
                </c:pt>
                <c:pt idx="32">
                  <c:v>139.3343581</c:v>
                </c:pt>
                <c:pt idx="33">
                  <c:v>133.292958</c:v>
                </c:pt>
                <c:pt idx="34">
                  <c:v>58.696382899999996</c:v>
                </c:pt>
                <c:pt idx="35">
                  <c:v>27.317472600000002</c:v>
                </c:pt>
                <c:pt idx="36">
                  <c:v>61.581090100000004</c:v>
                </c:pt>
                <c:pt idx="37">
                  <c:v>118.3353698</c:v>
                </c:pt>
                <c:pt idx="38">
                  <c:v>255.17977329999999</c:v>
                </c:pt>
                <c:pt idx="39">
                  <c:v>373.10985160000001</c:v>
                </c:pt>
                <c:pt idx="40">
                  <c:v>192.17676950000003</c:v>
                </c:pt>
                <c:pt idx="41">
                  <c:v>46.267796199999992</c:v>
                </c:pt>
                <c:pt idx="42">
                  <c:v>28.810148200000004</c:v>
                </c:pt>
                <c:pt idx="43">
                  <c:v>4.4453364999999998</c:v>
                </c:pt>
                <c:pt idx="44">
                  <c:v>4.91698E-2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45.558294600000004</c:v>
                </c:pt>
                <c:pt idx="52">
                  <c:v>85.660079499999995</c:v>
                </c:pt>
                <c:pt idx="53">
                  <c:v>90.096407100000022</c:v>
                </c:pt>
                <c:pt idx="54">
                  <c:v>90.096407100000022</c:v>
                </c:pt>
                <c:pt idx="55">
                  <c:v>116.94087570000001</c:v>
                </c:pt>
                <c:pt idx="56">
                  <c:v>174.55673040000002</c:v>
                </c:pt>
                <c:pt idx="57">
                  <c:v>184.95555619999999</c:v>
                </c:pt>
                <c:pt idx="58">
                  <c:v>185.07186389999998</c:v>
                </c:pt>
                <c:pt idx="59">
                  <c:v>201.91086479999998</c:v>
                </c:pt>
                <c:pt idx="60">
                  <c:v>409.83150740000002</c:v>
                </c:pt>
                <c:pt idx="61">
                  <c:v>497.29293739999997</c:v>
                </c:pt>
                <c:pt idx="62">
                  <c:v>551.63272329999995</c:v>
                </c:pt>
                <c:pt idx="63">
                  <c:v>759.03874429999996</c:v>
                </c:pt>
                <c:pt idx="64">
                  <c:v>1058.4174945</c:v>
                </c:pt>
                <c:pt idx="65">
                  <c:v>1813.5204222999998</c:v>
                </c:pt>
                <c:pt idx="66">
                  <c:v>2332.3356873000002</c:v>
                </c:pt>
                <c:pt idx="67">
                  <c:v>1853.0792633999999</c:v>
                </c:pt>
                <c:pt idx="68">
                  <c:v>1770.7378924</c:v>
                </c:pt>
                <c:pt idx="69">
                  <c:v>1827.6248099999998</c:v>
                </c:pt>
                <c:pt idx="70">
                  <c:v>1649.0510619000001</c:v>
                </c:pt>
                <c:pt idx="71">
                  <c:v>1149.3030069000001</c:v>
                </c:pt>
                <c:pt idx="72">
                  <c:v>1521.6874640000003</c:v>
                </c:pt>
                <c:pt idx="73">
                  <c:v>866.03270050000003</c:v>
                </c:pt>
                <c:pt idx="74">
                  <c:v>289.69708980000007</c:v>
                </c:pt>
                <c:pt idx="75">
                  <c:v>89.165254399999995</c:v>
                </c:pt>
                <c:pt idx="76">
                  <c:v>29.096655899999998</c:v>
                </c:pt>
                <c:pt idx="77">
                  <c:v>16.5306122</c:v>
                </c:pt>
                <c:pt idx="78">
                  <c:v>567.61728670000002</c:v>
                </c:pt>
                <c:pt idx="79">
                  <c:v>657.69425349999995</c:v>
                </c:pt>
                <c:pt idx="80">
                  <c:v>411.24535410000004</c:v>
                </c:pt>
                <c:pt idx="81">
                  <c:v>432.45822580000004</c:v>
                </c:pt>
                <c:pt idx="82">
                  <c:v>358.40237500000001</c:v>
                </c:pt>
                <c:pt idx="83">
                  <c:v>70.175837499999986</c:v>
                </c:pt>
                <c:pt idx="84">
                  <c:v>2.0766616000000004</c:v>
                </c:pt>
                <c:pt idx="85">
                  <c:v>0</c:v>
                </c:pt>
                <c:pt idx="86">
                  <c:v>16.045693</c:v>
                </c:pt>
                <c:pt idx="87">
                  <c:v>51.329895499999999</c:v>
                </c:pt>
                <c:pt idx="88">
                  <c:v>59.558498700000001</c:v>
                </c:pt>
                <c:pt idx="89">
                  <c:v>60.680213899999998</c:v>
                </c:pt>
                <c:pt idx="90">
                  <c:v>80.41725670000001</c:v>
                </c:pt>
                <c:pt idx="91">
                  <c:v>94.697091499999999</c:v>
                </c:pt>
                <c:pt idx="92">
                  <c:v>145.42021619999997</c:v>
                </c:pt>
                <c:pt idx="93">
                  <c:v>219.69268089999997</c:v>
                </c:pt>
                <c:pt idx="94">
                  <c:v>245.99335630000002</c:v>
                </c:pt>
                <c:pt idx="95">
                  <c:v>292.64977299999998</c:v>
                </c:pt>
                <c:pt idx="96">
                  <c:v>342.58928049999997</c:v>
                </c:pt>
                <c:pt idx="97">
                  <c:v>391.88932349999999</c:v>
                </c:pt>
                <c:pt idx="98">
                  <c:v>372.10572719999999</c:v>
                </c:pt>
                <c:pt idx="99">
                  <c:v>634.88071880000007</c:v>
                </c:pt>
                <c:pt idx="100">
                  <c:v>775.49997819999999</c:v>
                </c:pt>
                <c:pt idx="101">
                  <c:v>803.24751689999994</c:v>
                </c:pt>
                <c:pt idx="102">
                  <c:v>883.56993780000005</c:v>
                </c:pt>
                <c:pt idx="103">
                  <c:v>765.29252800000006</c:v>
                </c:pt>
                <c:pt idx="104">
                  <c:v>505.15775780000007</c:v>
                </c:pt>
                <c:pt idx="105">
                  <c:v>424.66087279999999</c:v>
                </c:pt>
                <c:pt idx="106">
                  <c:v>385.68912680000005</c:v>
                </c:pt>
                <c:pt idx="107">
                  <c:v>407.93590250000011</c:v>
                </c:pt>
                <c:pt idx="108">
                  <c:v>437.32424109999999</c:v>
                </c:pt>
                <c:pt idx="109">
                  <c:v>418.90298310000003</c:v>
                </c:pt>
                <c:pt idx="110">
                  <c:v>314.84609189999998</c:v>
                </c:pt>
                <c:pt idx="111">
                  <c:v>253.426424</c:v>
                </c:pt>
                <c:pt idx="112">
                  <c:v>249.95849390000001</c:v>
                </c:pt>
                <c:pt idx="113">
                  <c:v>126.53196010000001</c:v>
                </c:pt>
                <c:pt idx="114">
                  <c:v>5.9976493999999994</c:v>
                </c:pt>
                <c:pt idx="115">
                  <c:v>3.20790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F80-4D44-B5FB-C7344E7BB008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 w="28575">
              <a:solidFill>
                <a:schemeClr val="accent3">
                  <a:lumMod val="50000"/>
                </a:schemeClr>
              </a:solidFill>
            </a:ln>
            <a:effectLst/>
          </c:spPr>
          <c:invertIfNegative val="0"/>
          <c:cat>
            <c:numRef>
              <c:f>Sheet1!$A$2:$A$175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D$2:$D$175</c:f>
              <c:numCache>
                <c:formatCode>#,##0</c:formatCode>
                <c:ptCount val="116"/>
                <c:pt idx="0">
                  <c:v>7456.4480264000003</c:v>
                </c:pt>
                <c:pt idx="1">
                  <c:v>6778.1103578000002</c:v>
                </c:pt>
                <c:pt idx="2">
                  <c:v>6668.7970454999995</c:v>
                </c:pt>
                <c:pt idx="3">
                  <c:v>6678.3859325000003</c:v>
                </c:pt>
                <c:pt idx="4">
                  <c:v>6620.8526101000007</c:v>
                </c:pt>
                <c:pt idx="5">
                  <c:v>6810.7125739000003</c:v>
                </c:pt>
                <c:pt idx="6">
                  <c:v>6801.1236867999996</c:v>
                </c:pt>
                <c:pt idx="7">
                  <c:v>6653.4548261</c:v>
                </c:pt>
                <c:pt idx="8">
                  <c:v>6689.892597</c:v>
                </c:pt>
                <c:pt idx="9">
                  <c:v>6850.9858996000003</c:v>
                </c:pt>
                <c:pt idx="10">
                  <c:v>7421.3892874000003</c:v>
                </c:pt>
                <c:pt idx="11">
                  <c:v>7419.4715099999994</c:v>
                </c:pt>
                <c:pt idx="12">
                  <c:v>6684.1392646999993</c:v>
                </c:pt>
                <c:pt idx="13">
                  <c:v>6617.0170553000007</c:v>
                </c:pt>
                <c:pt idx="14">
                  <c:v>6638.1126068000003</c:v>
                </c:pt>
                <c:pt idx="15">
                  <c:v>7056.1880827000005</c:v>
                </c:pt>
                <c:pt idx="16">
                  <c:v>6958.3814346999998</c:v>
                </c:pt>
                <c:pt idx="17">
                  <c:v>6925.7792184999998</c:v>
                </c:pt>
                <c:pt idx="18">
                  <c:v>6785.7814674000001</c:v>
                </c:pt>
                <c:pt idx="19">
                  <c:v>6718.6592581000004</c:v>
                </c:pt>
                <c:pt idx="20">
                  <c:v>15328.977002000001</c:v>
                </c:pt>
                <c:pt idx="21">
                  <c:v>7893.7279553999997</c:v>
                </c:pt>
                <c:pt idx="22">
                  <c:v>6814.5481287000002</c:v>
                </c:pt>
                <c:pt idx="23">
                  <c:v>6697.5637066999989</c:v>
                </c:pt>
                <c:pt idx="24">
                  <c:v>6734.0014773999992</c:v>
                </c:pt>
                <c:pt idx="25">
                  <c:v>6676.4681550000005</c:v>
                </c:pt>
                <c:pt idx="26">
                  <c:v>14182.878452500001</c:v>
                </c:pt>
                <c:pt idx="27">
                  <c:v>14250.000662</c:v>
                </c:pt>
                <c:pt idx="28">
                  <c:v>13674.0450977</c:v>
                </c:pt>
                <c:pt idx="29">
                  <c:v>20075.396337400001</c:v>
                </c:pt>
                <c:pt idx="30">
                  <c:v>6681.2625986000003</c:v>
                </c:pt>
                <c:pt idx="31">
                  <c:v>6853.8625658000001</c:v>
                </c:pt>
                <c:pt idx="32">
                  <c:v>6623.7292761999997</c:v>
                </c:pt>
                <c:pt idx="33">
                  <c:v>6820.301461</c:v>
                </c:pt>
                <c:pt idx="34">
                  <c:v>6637.1537181000003</c:v>
                </c:pt>
                <c:pt idx="35">
                  <c:v>8029.8901517999993</c:v>
                </c:pt>
                <c:pt idx="36">
                  <c:v>6825.0959045</c:v>
                </c:pt>
                <c:pt idx="37">
                  <c:v>6885.5058928999997</c:v>
                </c:pt>
                <c:pt idx="38">
                  <c:v>6830.8492365999991</c:v>
                </c:pt>
                <c:pt idx="39">
                  <c:v>6776.1925804999992</c:v>
                </c:pt>
                <c:pt idx="40">
                  <c:v>37.396659399999997</c:v>
                </c:pt>
                <c:pt idx="41">
                  <c:v>0</c:v>
                </c:pt>
                <c:pt idx="42">
                  <c:v>0</c:v>
                </c:pt>
                <c:pt idx="43">
                  <c:v>7.6711095999999994</c:v>
                </c:pt>
                <c:pt idx="44">
                  <c:v>163.01108009999999</c:v>
                </c:pt>
                <c:pt idx="45">
                  <c:v>0</c:v>
                </c:pt>
                <c:pt idx="46">
                  <c:v>202.32551699999999</c:v>
                </c:pt>
                <c:pt idx="47">
                  <c:v>2.8766661</c:v>
                </c:pt>
                <c:pt idx="48">
                  <c:v>0</c:v>
                </c:pt>
                <c:pt idx="49">
                  <c:v>14.383330600000001</c:v>
                </c:pt>
                <c:pt idx="50">
                  <c:v>0</c:v>
                </c:pt>
                <c:pt idx="51">
                  <c:v>114.10775599999999</c:v>
                </c:pt>
                <c:pt idx="52">
                  <c:v>112.1899785</c:v>
                </c:pt>
                <c:pt idx="53">
                  <c:v>224.37995720000001</c:v>
                </c:pt>
                <c:pt idx="54">
                  <c:v>44.108880399999997</c:v>
                </c:pt>
                <c:pt idx="55">
                  <c:v>92.053315699999999</c:v>
                </c:pt>
                <c:pt idx="56">
                  <c:v>4342.8354083000004</c:v>
                </c:pt>
                <c:pt idx="57">
                  <c:v>4138.6422465000005</c:v>
                </c:pt>
                <c:pt idx="58">
                  <c:v>4200.9700124000001</c:v>
                </c:pt>
                <c:pt idx="59">
                  <c:v>4169.326685</c:v>
                </c:pt>
                <c:pt idx="60">
                  <c:v>4123.3000271999999</c:v>
                </c:pt>
                <c:pt idx="61">
                  <c:v>4162.6144641000001</c:v>
                </c:pt>
                <c:pt idx="62">
                  <c:v>4323.7077667000003</c:v>
                </c:pt>
                <c:pt idx="63">
                  <c:v>9050.668191599998</c:v>
                </c:pt>
                <c:pt idx="64">
                  <c:v>7003.7432798999998</c:v>
                </c:pt>
                <c:pt idx="65">
                  <c:v>6345.9316397999992</c:v>
                </c:pt>
                <c:pt idx="66">
                  <c:v>6343.0549737000001</c:v>
                </c:pt>
                <c:pt idx="67">
                  <c:v>6455.2449522999996</c:v>
                </c:pt>
                <c:pt idx="68">
                  <c:v>7009.4826242999998</c:v>
                </c:pt>
                <c:pt idx="69">
                  <c:v>6480.1760586</c:v>
                </c:pt>
                <c:pt idx="70">
                  <c:v>6428.3960684999993</c:v>
                </c:pt>
                <c:pt idx="71">
                  <c:v>4017.1938319000001</c:v>
                </c:pt>
                <c:pt idx="72">
                  <c:v>5805.8476487000007</c:v>
                </c:pt>
                <c:pt idx="73">
                  <c:v>-25.839862599999996</c:v>
                </c:pt>
                <c:pt idx="74">
                  <c:v>326.02215999999999</c:v>
                </c:pt>
                <c:pt idx="75">
                  <c:v>89.17664959999999</c:v>
                </c:pt>
                <c:pt idx="76">
                  <c:v>6.4724987</c:v>
                </c:pt>
                <c:pt idx="77">
                  <c:v>3886.2075511000003</c:v>
                </c:pt>
                <c:pt idx="78">
                  <c:v>3871.8242205000006</c:v>
                </c:pt>
                <c:pt idx="79">
                  <c:v>218.62662490000002</c:v>
                </c:pt>
                <c:pt idx="80">
                  <c:v>2316.8721736000002</c:v>
                </c:pt>
                <c:pt idx="81">
                  <c:v>1325.55648</c:v>
                </c:pt>
                <c:pt idx="82">
                  <c:v>7.6711095999999994</c:v>
                </c:pt>
                <c:pt idx="83">
                  <c:v>269.4477263</c:v>
                </c:pt>
                <c:pt idx="84">
                  <c:v>97.80664800000001</c:v>
                </c:pt>
                <c:pt idx="85">
                  <c:v>487.11546250000004</c:v>
                </c:pt>
                <c:pt idx="86">
                  <c:v>205.20218309999998</c:v>
                </c:pt>
                <c:pt idx="87">
                  <c:v>5.5136101000000002</c:v>
                </c:pt>
                <c:pt idx="88">
                  <c:v>106.43664630000001</c:v>
                </c:pt>
                <c:pt idx="89">
                  <c:v>7.6711095999999994</c:v>
                </c:pt>
                <c:pt idx="90">
                  <c:v>75.752207799999994</c:v>
                </c:pt>
                <c:pt idx="91">
                  <c:v>117.70358859999999</c:v>
                </c:pt>
                <c:pt idx="92">
                  <c:v>18.2188853</c:v>
                </c:pt>
                <c:pt idx="93">
                  <c:v>28.766661200000001</c:v>
                </c:pt>
                <c:pt idx="94">
                  <c:v>3941.2956058</c:v>
                </c:pt>
                <c:pt idx="95">
                  <c:v>5833.5076454999999</c:v>
                </c:pt>
                <c:pt idx="96">
                  <c:v>4140.5600239000005</c:v>
                </c:pt>
                <c:pt idx="97">
                  <c:v>4123.3000271999999</c:v>
                </c:pt>
                <c:pt idx="98">
                  <c:v>4176.9977946999998</c:v>
                </c:pt>
                <c:pt idx="99">
                  <c:v>4967.1360763000002</c:v>
                </c:pt>
                <c:pt idx="100">
                  <c:v>4231.6544510000003</c:v>
                </c:pt>
                <c:pt idx="101">
                  <c:v>7105.0410437999999</c:v>
                </c:pt>
                <c:pt idx="102">
                  <c:v>7197.4387984999994</c:v>
                </c:pt>
                <c:pt idx="103">
                  <c:v>7045.934382899999</c:v>
                </c:pt>
                <c:pt idx="104">
                  <c:v>6345.9316397999992</c:v>
                </c:pt>
                <c:pt idx="105">
                  <c:v>6725.6515673999993</c:v>
                </c:pt>
                <c:pt idx="106">
                  <c:v>6390.0405202999991</c:v>
                </c:pt>
                <c:pt idx="107">
                  <c:v>6701.679349699999</c:v>
                </c:pt>
                <c:pt idx="108">
                  <c:v>6578.9415953999996</c:v>
                </c:pt>
                <c:pt idx="109">
                  <c:v>6422.6427361999995</c:v>
                </c:pt>
                <c:pt idx="110">
                  <c:v>6345.9316398000001</c:v>
                </c:pt>
                <c:pt idx="111">
                  <c:v>6603.8727016999992</c:v>
                </c:pt>
                <c:pt idx="112">
                  <c:v>6513.7371633000002</c:v>
                </c:pt>
                <c:pt idx="113">
                  <c:v>6540.5860471999995</c:v>
                </c:pt>
                <c:pt idx="114">
                  <c:v>6343.0549737000001</c:v>
                </c:pt>
                <c:pt idx="115">
                  <c:v>-583.5826382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B6-4818-925F-A1C544F08546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ignup</c:v>
                </c:pt>
              </c:strCache>
            </c:strRef>
          </c:tx>
          <c:spPr>
            <a:solidFill>
              <a:schemeClr val="accent4"/>
            </a:solidFill>
            <a:ln w="28575">
              <a:solidFill>
                <a:schemeClr val="accent4"/>
              </a:solidFill>
            </a:ln>
            <a:effectLst/>
          </c:spPr>
          <c:invertIfNegative val="0"/>
          <c:cat>
            <c:numRef>
              <c:f>Sheet1!$A$2:$A$175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E$2:$E$175</c:f>
              <c:numCache>
                <c:formatCode>#,##0</c:formatCode>
                <c:ptCount val="116"/>
                <c:pt idx="0">
                  <c:v>0</c:v>
                </c:pt>
                <c:pt idx="1">
                  <c:v>0</c:v>
                </c:pt>
                <c:pt idx="2">
                  <c:v>17.909278</c:v>
                </c:pt>
                <c:pt idx="3">
                  <c:v>6308.8607324999994</c:v>
                </c:pt>
                <c:pt idx="4">
                  <c:v>10077.784587300001</c:v>
                </c:pt>
                <c:pt idx="5">
                  <c:v>8240.888340200001</c:v>
                </c:pt>
                <c:pt idx="6">
                  <c:v>9227.9874659000016</c:v>
                </c:pt>
                <c:pt idx="7">
                  <c:v>10256.5840498</c:v>
                </c:pt>
                <c:pt idx="8">
                  <c:v>16316.571527800001</c:v>
                </c:pt>
                <c:pt idx="9">
                  <c:v>16296.650470799999</c:v>
                </c:pt>
                <c:pt idx="10">
                  <c:v>14600.186127299999</c:v>
                </c:pt>
                <c:pt idx="11">
                  <c:v>20551.2664936</c:v>
                </c:pt>
                <c:pt idx="12">
                  <c:v>21799.693246800001</c:v>
                </c:pt>
                <c:pt idx="13">
                  <c:v>17517.1885181</c:v>
                </c:pt>
                <c:pt idx="14">
                  <c:v>14846.375325800002</c:v>
                </c:pt>
                <c:pt idx="15">
                  <c:v>15017.9465079</c:v>
                </c:pt>
                <c:pt idx="16">
                  <c:v>13348.278655399999</c:v>
                </c:pt>
                <c:pt idx="17">
                  <c:v>8698.8613656000016</c:v>
                </c:pt>
                <c:pt idx="18">
                  <c:v>6870.3090241</c:v>
                </c:pt>
                <c:pt idx="19">
                  <c:v>6568.379943599999</c:v>
                </c:pt>
                <c:pt idx="20">
                  <c:v>7741.9227211999987</c:v>
                </c:pt>
                <c:pt idx="21">
                  <c:v>6953.5518568000007</c:v>
                </c:pt>
                <c:pt idx="22">
                  <c:v>5810.7977548999997</c:v>
                </c:pt>
                <c:pt idx="23">
                  <c:v>6721.2792756000008</c:v>
                </c:pt>
                <c:pt idx="24">
                  <c:v>14972.700538399999</c:v>
                </c:pt>
                <c:pt idx="25">
                  <c:v>8827.7871488000001</c:v>
                </c:pt>
                <c:pt idx="26">
                  <c:v>12334.554620399998</c:v>
                </c:pt>
                <c:pt idx="27">
                  <c:v>13844.335748899999</c:v>
                </c:pt>
                <c:pt idx="28">
                  <c:v>6976.5216697000005</c:v>
                </c:pt>
                <c:pt idx="29">
                  <c:v>5898.9235248000005</c:v>
                </c:pt>
                <c:pt idx="30">
                  <c:v>1780.9228077999999</c:v>
                </c:pt>
                <c:pt idx="31">
                  <c:v>2872.2781249</c:v>
                </c:pt>
                <c:pt idx="32">
                  <c:v>5689.9932675</c:v>
                </c:pt>
                <c:pt idx="33">
                  <c:v>6384.1180991000001</c:v>
                </c:pt>
                <c:pt idx="34">
                  <c:v>6250.3119802000001</c:v>
                </c:pt>
                <c:pt idx="35">
                  <c:v>8161.5109575000006</c:v>
                </c:pt>
                <c:pt idx="36">
                  <c:v>8983.9037752000004</c:v>
                </c:pt>
                <c:pt idx="37">
                  <c:v>9470.2951055000012</c:v>
                </c:pt>
                <c:pt idx="38">
                  <c:v>9466.7531763000006</c:v>
                </c:pt>
                <c:pt idx="39">
                  <c:v>8032.0634702000007</c:v>
                </c:pt>
                <c:pt idx="40">
                  <c:v>4691.7314523999994</c:v>
                </c:pt>
                <c:pt idx="41">
                  <c:v>1427.6457216999997</c:v>
                </c:pt>
                <c:pt idx="42">
                  <c:v>707.79517940000005</c:v>
                </c:pt>
                <c:pt idx="43">
                  <c:v>457.4111216</c:v>
                </c:pt>
                <c:pt idx="44">
                  <c:v>722.28566939999996</c:v>
                </c:pt>
                <c:pt idx="45">
                  <c:v>161.26714180000002</c:v>
                </c:pt>
                <c:pt idx="46">
                  <c:v>4.6438677000000004</c:v>
                </c:pt>
                <c:pt idx="47">
                  <c:v>322.84645339999997</c:v>
                </c:pt>
                <c:pt idx="48">
                  <c:v>410.30232580000001</c:v>
                </c:pt>
                <c:pt idx="49">
                  <c:v>163.60457719999999</c:v>
                </c:pt>
                <c:pt idx="50">
                  <c:v>5.2585457000000009</c:v>
                </c:pt>
                <c:pt idx="51">
                  <c:v>587.09446019999996</c:v>
                </c:pt>
                <c:pt idx="52">
                  <c:v>989.63303819999999</c:v>
                </c:pt>
                <c:pt idx="53">
                  <c:v>1497.3482997000001</c:v>
                </c:pt>
                <c:pt idx="54">
                  <c:v>1974.3926919</c:v>
                </c:pt>
                <c:pt idx="55">
                  <c:v>1888.2853602</c:v>
                </c:pt>
                <c:pt idx="56">
                  <c:v>2008.7687973999996</c:v>
                </c:pt>
                <c:pt idx="57">
                  <c:v>2771.7466907000003</c:v>
                </c:pt>
                <c:pt idx="58">
                  <c:v>5054.3052818999995</c:v>
                </c:pt>
                <c:pt idx="59">
                  <c:v>6560.0199292999996</c:v>
                </c:pt>
                <c:pt idx="60">
                  <c:v>7050.6604855999994</c:v>
                </c:pt>
                <c:pt idx="61">
                  <c:v>7393.2894442000006</c:v>
                </c:pt>
                <c:pt idx="62">
                  <c:v>7546.1923236999992</c:v>
                </c:pt>
                <c:pt idx="63">
                  <c:v>8829.1478619000009</c:v>
                </c:pt>
                <c:pt idx="64">
                  <c:v>9155.4280565999998</c:v>
                </c:pt>
                <c:pt idx="65">
                  <c:v>8907.5005572999999</c:v>
                </c:pt>
                <c:pt idx="66">
                  <c:v>2327.7707994000002</c:v>
                </c:pt>
                <c:pt idx="67">
                  <c:v>11337.3507902</c:v>
                </c:pt>
                <c:pt idx="68">
                  <c:v>11004.0812983</c:v>
                </c:pt>
                <c:pt idx="69">
                  <c:v>10462.982052100002</c:v>
                </c:pt>
                <c:pt idx="70">
                  <c:v>9418.6614879999997</c:v>
                </c:pt>
                <c:pt idx="71">
                  <c:v>3333.8248901000002</c:v>
                </c:pt>
                <c:pt idx="72">
                  <c:v>118.16149150000001</c:v>
                </c:pt>
                <c:pt idx="73">
                  <c:v>3.3077656000000002</c:v>
                </c:pt>
                <c:pt idx="74">
                  <c:v>9.2596199999999976E-2</c:v>
                </c:pt>
                <c:pt idx="75">
                  <c:v>2.5921000000000004E-3</c:v>
                </c:pt>
                <c:pt idx="76">
                  <c:v>7.2499999999999987E-5</c:v>
                </c:pt>
                <c:pt idx="77">
                  <c:v>1378.2533209000001</c:v>
                </c:pt>
                <c:pt idx="78">
                  <c:v>3084.4606405999998</c:v>
                </c:pt>
                <c:pt idx="79">
                  <c:v>3085.8676743000001</c:v>
                </c:pt>
                <c:pt idx="80">
                  <c:v>2900.4318416999999</c:v>
                </c:pt>
                <c:pt idx="81">
                  <c:v>2529.8787892</c:v>
                </c:pt>
                <c:pt idx="82">
                  <c:v>1875.3403636999999</c:v>
                </c:pt>
                <c:pt idx="83">
                  <c:v>1591.6718851000001</c:v>
                </c:pt>
                <c:pt idx="84">
                  <c:v>513.42456789999994</c:v>
                </c:pt>
                <c:pt idx="85">
                  <c:v>14.3726018</c:v>
                </c:pt>
                <c:pt idx="86">
                  <c:v>1279.9373310999999</c:v>
                </c:pt>
                <c:pt idx="87">
                  <c:v>2216.3004046999999</c:v>
                </c:pt>
                <c:pt idx="88">
                  <c:v>2110.9460853</c:v>
                </c:pt>
                <c:pt idx="89">
                  <c:v>720.84368600000005</c:v>
                </c:pt>
                <c:pt idx="90">
                  <c:v>1193.8262104</c:v>
                </c:pt>
                <c:pt idx="91">
                  <c:v>1595.9368191000001</c:v>
                </c:pt>
                <c:pt idx="92">
                  <c:v>2079.0632669000001</c:v>
                </c:pt>
                <c:pt idx="93">
                  <c:v>2349.3363198999996</c:v>
                </c:pt>
                <c:pt idx="94">
                  <c:v>3348.2646531999999</c:v>
                </c:pt>
                <c:pt idx="95">
                  <c:v>3075.7706346</c:v>
                </c:pt>
                <c:pt idx="96">
                  <c:v>3665.0426858999999</c:v>
                </c:pt>
                <c:pt idx="97">
                  <c:v>5650.7543981000008</c:v>
                </c:pt>
                <c:pt idx="98">
                  <c:v>4475.5112250000002</c:v>
                </c:pt>
                <c:pt idx="99">
                  <c:v>7099.8479385000001</c:v>
                </c:pt>
                <c:pt idx="100">
                  <c:v>8702.8466785000001</c:v>
                </c:pt>
                <c:pt idx="101">
                  <c:v>10861.9345923</c:v>
                </c:pt>
                <c:pt idx="102">
                  <c:v>12951.244329499999</c:v>
                </c:pt>
                <c:pt idx="103">
                  <c:v>13557.849708100002</c:v>
                </c:pt>
                <c:pt idx="104">
                  <c:v>11448.724509400001</c:v>
                </c:pt>
                <c:pt idx="105">
                  <c:v>12956.790460300001</c:v>
                </c:pt>
                <c:pt idx="106">
                  <c:v>12905.7732034</c:v>
                </c:pt>
                <c:pt idx="107">
                  <c:v>14275.261700799998</c:v>
                </c:pt>
                <c:pt idx="108">
                  <c:v>15294.1752777</c:v>
                </c:pt>
                <c:pt idx="109">
                  <c:v>15648.096899099999</c:v>
                </c:pt>
                <c:pt idx="110">
                  <c:v>16280.7526192</c:v>
                </c:pt>
                <c:pt idx="111">
                  <c:v>15809.414755400001</c:v>
                </c:pt>
                <c:pt idx="112">
                  <c:v>15450.576461500001</c:v>
                </c:pt>
                <c:pt idx="113">
                  <c:v>15617.3864558</c:v>
                </c:pt>
                <c:pt idx="114">
                  <c:v>14935.0054679</c:v>
                </c:pt>
                <c:pt idx="115">
                  <c:v>2169.6613252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1CB-4DAD-968A-131BF851268F}"/>
            </c:ext>
          </c:extLst>
        </c:ser>
        <c:ser>
          <c:idx val="1"/>
          <c:order val="3"/>
          <c:tx>
            <c:strRef>
              <c:f>Sheet1!$C$1</c:f>
              <c:strCache>
                <c:ptCount val="1"/>
                <c:pt idx="0">
                  <c:v>Covid</c:v>
                </c:pt>
              </c:strCache>
            </c:strRef>
          </c:tx>
          <c:spPr>
            <a:solidFill>
              <a:srgbClr val="FF0000"/>
            </a:solidFill>
            <a:ln w="28575">
              <a:solidFill>
                <a:srgbClr val="FF0000"/>
              </a:solidFill>
            </a:ln>
            <a:effectLst/>
          </c:spPr>
          <c:invertIfNegative val="0"/>
          <c:val>
            <c:numRef>
              <c:f>Sheet1!$C$2:$C$117</c:f>
              <c:numCache>
                <c:formatCode>#,##0</c:formatCode>
                <c:ptCount val="1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-36.859702300000002</c:v>
                </c:pt>
                <c:pt idx="36">
                  <c:v>-330.11992300000003</c:v>
                </c:pt>
                <c:pt idx="37">
                  <c:v>-118.15535010000002</c:v>
                </c:pt>
                <c:pt idx="38">
                  <c:v>-122.9649869</c:v>
                </c:pt>
                <c:pt idx="39">
                  <c:v>-457.68173590000004</c:v>
                </c:pt>
                <c:pt idx="40">
                  <c:v>-2026.943154</c:v>
                </c:pt>
                <c:pt idx="41">
                  <c:v>-4339.5277265000004</c:v>
                </c:pt>
                <c:pt idx="42">
                  <c:v>-5416.0353544999998</c:v>
                </c:pt>
                <c:pt idx="43">
                  <c:v>-5388.1139159999993</c:v>
                </c:pt>
                <c:pt idx="44">
                  <c:v>-5449.362314</c:v>
                </c:pt>
                <c:pt idx="45">
                  <c:v>-5252.890734300001</c:v>
                </c:pt>
                <c:pt idx="46">
                  <c:v>-5177.8093071000003</c:v>
                </c:pt>
                <c:pt idx="47">
                  <c:v>-5059.5688272999996</c:v>
                </c:pt>
                <c:pt idx="48">
                  <c:v>-4957.8002930000002</c:v>
                </c:pt>
                <c:pt idx="49">
                  <c:v>-4670.1584067000003</c:v>
                </c:pt>
                <c:pt idx="50">
                  <c:v>-4535.9141814000004</c:v>
                </c:pt>
                <c:pt idx="51">
                  <c:v>-4332.2919861</c:v>
                </c:pt>
                <c:pt idx="52">
                  <c:v>-4357.1488757000006</c:v>
                </c:pt>
                <c:pt idx="53">
                  <c:v>-4113.6024321999994</c:v>
                </c:pt>
                <c:pt idx="54">
                  <c:v>-3918.7056886999994</c:v>
                </c:pt>
                <c:pt idx="55">
                  <c:v>-3883.3782614999996</c:v>
                </c:pt>
                <c:pt idx="56">
                  <c:v>-3695.7172563999998</c:v>
                </c:pt>
                <c:pt idx="57">
                  <c:v>-3587.8196281999999</c:v>
                </c:pt>
                <c:pt idx="58">
                  <c:v>-3613.9108472999997</c:v>
                </c:pt>
                <c:pt idx="59">
                  <c:v>-3565.3888371999997</c:v>
                </c:pt>
                <c:pt idx="60">
                  <c:v>-3477.4533330999998</c:v>
                </c:pt>
                <c:pt idx="61">
                  <c:v>-3530.6147286</c:v>
                </c:pt>
                <c:pt idx="62">
                  <c:v>-3537.5099619000002</c:v>
                </c:pt>
                <c:pt idx="63">
                  <c:v>-3402.5421572999994</c:v>
                </c:pt>
                <c:pt idx="64">
                  <c:v>-3345.5926396999998</c:v>
                </c:pt>
                <c:pt idx="65">
                  <c:v>-3020.3249138000001</c:v>
                </c:pt>
                <c:pt idx="66">
                  <c:v>-2868.1190273999996</c:v>
                </c:pt>
                <c:pt idx="67">
                  <c:v>-2948.5634157999998</c:v>
                </c:pt>
                <c:pt idx="68">
                  <c:v>-3082.2543254999996</c:v>
                </c:pt>
                <c:pt idx="69">
                  <c:v>-3081.1051189000004</c:v>
                </c:pt>
                <c:pt idx="70">
                  <c:v>-3043.3941533999996</c:v>
                </c:pt>
                <c:pt idx="71">
                  <c:v>-3237.2268186000006</c:v>
                </c:pt>
                <c:pt idx="72">
                  <c:v>-3411.3952985000001</c:v>
                </c:pt>
                <c:pt idx="73">
                  <c:v>-3282.0883968000003</c:v>
                </c:pt>
                <c:pt idx="74">
                  <c:v>-3872.7374691999999</c:v>
                </c:pt>
                <c:pt idx="75">
                  <c:v>-3930.1551808000004</c:v>
                </c:pt>
                <c:pt idx="76">
                  <c:v>-3850.9451257000005</c:v>
                </c:pt>
                <c:pt idx="77">
                  <c:v>-3655.4099359999996</c:v>
                </c:pt>
                <c:pt idx="78">
                  <c:v>-3218.8395288000002</c:v>
                </c:pt>
                <c:pt idx="79">
                  <c:v>-3345.6777675999997</c:v>
                </c:pt>
                <c:pt idx="80">
                  <c:v>-4407.3308518999993</c:v>
                </c:pt>
                <c:pt idx="81">
                  <c:v>-5255.8275919999996</c:v>
                </c:pt>
                <c:pt idx="82">
                  <c:v>-4949.9261082000003</c:v>
                </c:pt>
                <c:pt idx="83">
                  <c:v>-4870.7160519999998</c:v>
                </c:pt>
                <c:pt idx="84">
                  <c:v>-4842.3689838999999</c:v>
                </c:pt>
                <c:pt idx="85">
                  <c:v>-4786.9517404999997</c:v>
                </c:pt>
                <c:pt idx="86">
                  <c:v>-4710.2103512000003</c:v>
                </c:pt>
                <c:pt idx="87">
                  <c:v>-4771.2459312999999</c:v>
                </c:pt>
                <c:pt idx="88">
                  <c:v>-4599.0779185000001</c:v>
                </c:pt>
                <c:pt idx="89">
                  <c:v>-4394.8598431999999</c:v>
                </c:pt>
                <c:pt idx="90">
                  <c:v>-4339.9107916000003</c:v>
                </c:pt>
                <c:pt idx="91">
                  <c:v>-4178.5963886999998</c:v>
                </c:pt>
                <c:pt idx="92">
                  <c:v>-3996.2132165000003</c:v>
                </c:pt>
                <c:pt idx="93">
                  <c:v>-3911.2145703000001</c:v>
                </c:pt>
                <c:pt idx="94">
                  <c:v>-3844.1350198</c:v>
                </c:pt>
                <c:pt idx="95">
                  <c:v>-4077.1257980999999</c:v>
                </c:pt>
                <c:pt idx="96">
                  <c:v>-3610.207852</c:v>
                </c:pt>
                <c:pt idx="97">
                  <c:v>-3129.7548201000004</c:v>
                </c:pt>
                <c:pt idx="98">
                  <c:v>-3122.8170231999998</c:v>
                </c:pt>
                <c:pt idx="99">
                  <c:v>-3309.371384</c:v>
                </c:pt>
                <c:pt idx="100">
                  <c:v>-3129.0312449999997</c:v>
                </c:pt>
                <c:pt idx="101">
                  <c:v>-3044.8838649999998</c:v>
                </c:pt>
                <c:pt idx="102">
                  <c:v>-2892.5077249999999</c:v>
                </c:pt>
                <c:pt idx="103">
                  <c:v>-2883.6971473000003</c:v>
                </c:pt>
                <c:pt idx="104">
                  <c:v>-2785.2911053999997</c:v>
                </c:pt>
                <c:pt idx="105">
                  <c:v>-2734.7260620000002</c:v>
                </c:pt>
                <c:pt idx="106">
                  <c:v>-2895.6573976</c:v>
                </c:pt>
                <c:pt idx="107">
                  <c:v>-2800.0605247000003</c:v>
                </c:pt>
                <c:pt idx="108">
                  <c:v>-2736.6414064000001</c:v>
                </c:pt>
                <c:pt idx="109">
                  <c:v>-2646.5351796999998</c:v>
                </c:pt>
                <c:pt idx="110">
                  <c:v>-2734.4281204000004</c:v>
                </c:pt>
                <c:pt idx="111">
                  <c:v>-2889.0175454</c:v>
                </c:pt>
                <c:pt idx="112">
                  <c:v>-2882.6330702999999</c:v>
                </c:pt>
                <c:pt idx="113">
                  <c:v>-2851.2640154999999</c:v>
                </c:pt>
                <c:pt idx="114">
                  <c:v>-2757.2419798000001</c:v>
                </c:pt>
                <c:pt idx="115">
                  <c:v>-400.4768412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F6-4EEF-B0A5-986C6925D57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Referrals</c:v>
                </c:pt>
              </c:strCache>
            </c:strRef>
          </c:tx>
          <c:spPr>
            <a:solidFill>
              <a:schemeClr val="accent1"/>
            </a:solidFill>
            <a:ln w="28575">
              <a:solidFill>
                <a:schemeClr val="accent1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F$2:$F$117</c:f>
              <c:numCache>
                <c:formatCode>#,##0</c:formatCode>
                <c:ptCount val="1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1.811760599999999</c:v>
                </c:pt>
                <c:pt idx="9">
                  <c:v>45.934541600000003</c:v>
                </c:pt>
                <c:pt idx="10">
                  <c:v>79.338529300000005</c:v>
                </c:pt>
                <c:pt idx="11">
                  <c:v>378.82504599999999</c:v>
                </c:pt>
                <c:pt idx="12">
                  <c:v>1176.2124690000001</c:v>
                </c:pt>
                <c:pt idx="13">
                  <c:v>1942.4570328</c:v>
                </c:pt>
                <c:pt idx="14">
                  <c:v>2509.5844578000001</c:v>
                </c:pt>
                <c:pt idx="15">
                  <c:v>2751.0578476999999</c:v>
                </c:pt>
                <c:pt idx="16">
                  <c:v>2191.8359952999999</c:v>
                </c:pt>
                <c:pt idx="17">
                  <c:v>1334.1334583000003</c:v>
                </c:pt>
                <c:pt idx="18">
                  <c:v>616.0999667000001</c:v>
                </c:pt>
                <c:pt idx="19">
                  <c:v>121.39110239999999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8.2473789999999987</c:v>
                </c:pt>
                <c:pt idx="26">
                  <c:v>32.478585299999999</c:v>
                </c:pt>
                <c:pt idx="27">
                  <c:v>34.3185249</c:v>
                </c:pt>
                <c:pt idx="28">
                  <c:v>26.075029699999998</c:v>
                </c:pt>
                <c:pt idx="29">
                  <c:v>14.733438100000001</c:v>
                </c:pt>
                <c:pt idx="30">
                  <c:v>0.94709670000000001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197.58124470000001</c:v>
                </c:pt>
                <c:pt idx="37">
                  <c:v>975.66593440000008</c:v>
                </c:pt>
                <c:pt idx="38">
                  <c:v>1797.8297856000002</c:v>
                </c:pt>
                <c:pt idx="39">
                  <c:v>2422.5054352999996</c:v>
                </c:pt>
                <c:pt idx="40">
                  <c:v>2654.3199404000002</c:v>
                </c:pt>
                <c:pt idx="41">
                  <c:v>1982.7190078000001</c:v>
                </c:pt>
                <c:pt idx="42">
                  <c:v>1147.096215</c:v>
                </c:pt>
                <c:pt idx="43">
                  <c:v>481.90768850000001</c:v>
                </c:pt>
                <c:pt idx="44">
                  <c:v>64.307292999999987</c:v>
                </c:pt>
                <c:pt idx="45">
                  <c:v>1.9373995000000002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44.354363599999999</c:v>
                </c:pt>
                <c:pt idx="56">
                  <c:v>81.250700399999999</c:v>
                </c:pt>
                <c:pt idx="57">
                  <c:v>287.74910460000001</c:v>
                </c:pt>
                <c:pt idx="58">
                  <c:v>763.45853480000005</c:v>
                </c:pt>
                <c:pt idx="59">
                  <c:v>787.02853810000011</c:v>
                </c:pt>
                <c:pt idx="60">
                  <c:v>715.90298409999991</c:v>
                </c:pt>
                <c:pt idx="61">
                  <c:v>444.01968160000001</c:v>
                </c:pt>
                <c:pt idx="62">
                  <c:v>208.88021229999998</c:v>
                </c:pt>
                <c:pt idx="63">
                  <c:v>222.11572689999997</c:v>
                </c:pt>
                <c:pt idx="64">
                  <c:v>148.71192769999999</c:v>
                </c:pt>
                <c:pt idx="65">
                  <c:v>138.67766510000001</c:v>
                </c:pt>
                <c:pt idx="66">
                  <c:v>294.09833889999999</c:v>
                </c:pt>
                <c:pt idx="67">
                  <c:v>444.53666680000003</c:v>
                </c:pt>
                <c:pt idx="68">
                  <c:v>383.37593990000005</c:v>
                </c:pt>
                <c:pt idx="69">
                  <c:v>259.63789129999998</c:v>
                </c:pt>
                <c:pt idx="70">
                  <c:v>90.418866899999998</c:v>
                </c:pt>
                <c:pt idx="71">
                  <c:v>2.7036E-3</c:v>
                </c:pt>
                <c:pt idx="72">
                  <c:v>2.2840099999999999E-2</c:v>
                </c:pt>
                <c:pt idx="73">
                  <c:v>2.7552500000000004E-2</c:v>
                </c:pt>
                <c:pt idx="74">
                  <c:v>2.17322E-2</c:v>
                </c:pt>
                <c:pt idx="75">
                  <c:v>1.3996900000000001E-2</c:v>
                </c:pt>
                <c:pt idx="76">
                  <c:v>1.7112E-3</c:v>
                </c:pt>
                <c:pt idx="77">
                  <c:v>279.34171570000001</c:v>
                </c:pt>
                <c:pt idx="78">
                  <c:v>665.85048259999996</c:v>
                </c:pt>
                <c:pt idx="79">
                  <c:v>778.65343699999994</c:v>
                </c:pt>
                <c:pt idx="80">
                  <c:v>857.99149329999989</c:v>
                </c:pt>
                <c:pt idx="81">
                  <c:v>560.32506609999996</c:v>
                </c:pt>
                <c:pt idx="82">
                  <c:v>276.38579070000003</c:v>
                </c:pt>
                <c:pt idx="83">
                  <c:v>112.8354966</c:v>
                </c:pt>
                <c:pt idx="84">
                  <c:v>49.346917899999994</c:v>
                </c:pt>
                <c:pt idx="85">
                  <c:v>90.396328999999994</c:v>
                </c:pt>
                <c:pt idx="86">
                  <c:v>162.20191649999998</c:v>
                </c:pt>
                <c:pt idx="87">
                  <c:v>209.74836860000002</c:v>
                </c:pt>
                <c:pt idx="88">
                  <c:v>150.21214750000001</c:v>
                </c:pt>
                <c:pt idx="89">
                  <c:v>93.920157000000017</c:v>
                </c:pt>
                <c:pt idx="90">
                  <c:v>50.804237499999999</c:v>
                </c:pt>
                <c:pt idx="91">
                  <c:v>184.57994170000001</c:v>
                </c:pt>
                <c:pt idx="92">
                  <c:v>206.1669215</c:v>
                </c:pt>
                <c:pt idx="93">
                  <c:v>159.24207340000001</c:v>
                </c:pt>
                <c:pt idx="94">
                  <c:v>107.3144099</c:v>
                </c:pt>
                <c:pt idx="95">
                  <c:v>713.41334499999994</c:v>
                </c:pt>
                <c:pt idx="96">
                  <c:v>3505.9309355</c:v>
                </c:pt>
                <c:pt idx="97">
                  <c:v>3586.5809644000001</c:v>
                </c:pt>
                <c:pt idx="98">
                  <c:v>2697.5348712</c:v>
                </c:pt>
                <c:pt idx="99">
                  <c:v>1798.5235244999999</c:v>
                </c:pt>
                <c:pt idx="100">
                  <c:v>1132.6100386999999</c:v>
                </c:pt>
                <c:pt idx="101">
                  <c:v>1638.5794629</c:v>
                </c:pt>
                <c:pt idx="102">
                  <c:v>2197.3242313999999</c:v>
                </c:pt>
                <c:pt idx="103">
                  <c:v>2977.9564455999998</c:v>
                </c:pt>
                <c:pt idx="104">
                  <c:v>3324.7695357000002</c:v>
                </c:pt>
                <c:pt idx="105">
                  <c:v>3401.2521489999999</c:v>
                </c:pt>
                <c:pt idx="106">
                  <c:v>2558.1455900000001</c:v>
                </c:pt>
                <c:pt idx="107">
                  <c:v>1503.6433783999998</c:v>
                </c:pt>
                <c:pt idx="108">
                  <c:v>0</c:v>
                </c:pt>
                <c:pt idx="109">
                  <c:v>2427.6842600999998</c:v>
                </c:pt>
                <c:pt idx="110">
                  <c:v>3547.5383459000004</c:v>
                </c:pt>
                <c:pt idx="111">
                  <c:v>2924.6512464999996</c:v>
                </c:pt>
                <c:pt idx="112">
                  <c:v>2029.8654701</c:v>
                </c:pt>
                <c:pt idx="113">
                  <c:v>434.83070889999999</c:v>
                </c:pt>
                <c:pt idx="114">
                  <c:v>0</c:v>
                </c:pt>
                <c:pt idx="1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80-4D44-B5FB-C7344E7BB00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Other Non-Media</c:v>
                </c:pt>
              </c:strCache>
            </c:strRef>
          </c:tx>
          <c:spPr>
            <a:solidFill>
              <a:schemeClr val="accent6"/>
            </a:solidFill>
            <a:ln w="28575">
              <a:solidFill>
                <a:schemeClr val="accent6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G$2:$G$117</c:f>
              <c:numCache>
                <c:formatCode>#,##0</c:formatCode>
                <c:ptCount val="116"/>
                <c:pt idx="0">
                  <c:v>87.853560000000016</c:v>
                </c:pt>
                <c:pt idx="1">
                  <c:v>182.75167070000001</c:v>
                </c:pt>
                <c:pt idx="2">
                  <c:v>8.7800685000000005</c:v>
                </c:pt>
                <c:pt idx="3">
                  <c:v>315.61709289999999</c:v>
                </c:pt>
                <c:pt idx="4">
                  <c:v>176.79303529999999</c:v>
                </c:pt>
                <c:pt idx="5">
                  <c:v>514.97472730000004</c:v>
                </c:pt>
                <c:pt idx="6">
                  <c:v>635.88387830000011</c:v>
                </c:pt>
                <c:pt idx="7">
                  <c:v>635.98409060000006</c:v>
                </c:pt>
                <c:pt idx="8">
                  <c:v>636.54412550000006</c:v>
                </c:pt>
                <c:pt idx="9">
                  <c:v>638.32763850000003</c:v>
                </c:pt>
                <c:pt idx="10">
                  <c:v>638.82956380000007</c:v>
                </c:pt>
                <c:pt idx="11">
                  <c:v>1216.2791233</c:v>
                </c:pt>
                <c:pt idx="12">
                  <c:v>1648.0550399999997</c:v>
                </c:pt>
                <c:pt idx="13">
                  <c:v>2390.7058904</c:v>
                </c:pt>
                <c:pt idx="14">
                  <c:v>2513.0829197999997</c:v>
                </c:pt>
                <c:pt idx="15">
                  <c:v>1646.8701626000002</c:v>
                </c:pt>
                <c:pt idx="16">
                  <c:v>2033.0701905999999</c:v>
                </c:pt>
                <c:pt idx="17">
                  <c:v>1020.7765920000002</c:v>
                </c:pt>
                <c:pt idx="18">
                  <c:v>1020.9408873</c:v>
                </c:pt>
                <c:pt idx="19">
                  <c:v>1020.5435284000001</c:v>
                </c:pt>
                <c:pt idx="20">
                  <c:v>1025.8143423000001</c:v>
                </c:pt>
                <c:pt idx="21">
                  <c:v>1020.4896088000002</c:v>
                </c:pt>
                <c:pt idx="22">
                  <c:v>1037.8855112000001</c:v>
                </c:pt>
                <c:pt idx="23">
                  <c:v>1024.7712912000002</c:v>
                </c:pt>
                <c:pt idx="24">
                  <c:v>1266.1929176000001</c:v>
                </c:pt>
                <c:pt idx="25">
                  <c:v>1804.6637799</c:v>
                </c:pt>
                <c:pt idx="26">
                  <c:v>2097.9507189999999</c:v>
                </c:pt>
                <c:pt idx="27">
                  <c:v>2068.7281355</c:v>
                </c:pt>
                <c:pt idx="28">
                  <c:v>2060.8593720999997</c:v>
                </c:pt>
                <c:pt idx="29">
                  <c:v>2052.3329887</c:v>
                </c:pt>
                <c:pt idx="30">
                  <c:v>2064.1265054</c:v>
                </c:pt>
                <c:pt idx="31">
                  <c:v>2283.6942439999998</c:v>
                </c:pt>
                <c:pt idx="32">
                  <c:v>2108.0973101999998</c:v>
                </c:pt>
                <c:pt idx="33">
                  <c:v>1705.6167428999995</c:v>
                </c:pt>
                <c:pt idx="34">
                  <c:v>666.65548120000005</c:v>
                </c:pt>
                <c:pt idx="35">
                  <c:v>669.47771079999995</c:v>
                </c:pt>
                <c:pt idx="36">
                  <c:v>644.10737830000005</c:v>
                </c:pt>
                <c:pt idx="37">
                  <c:v>660.51161300000001</c:v>
                </c:pt>
                <c:pt idx="38">
                  <c:v>653.47484290000011</c:v>
                </c:pt>
                <c:pt idx="39">
                  <c:v>660.33506900000009</c:v>
                </c:pt>
                <c:pt idx="40">
                  <c:v>654.20652899999993</c:v>
                </c:pt>
                <c:pt idx="41">
                  <c:v>631.51335540000002</c:v>
                </c:pt>
                <c:pt idx="42">
                  <c:v>630.8422597</c:v>
                </c:pt>
                <c:pt idx="43">
                  <c:v>1.3818545000000002</c:v>
                </c:pt>
                <c:pt idx="44">
                  <c:v>1.3271904000000001</c:v>
                </c:pt>
                <c:pt idx="45">
                  <c:v>6.0973870999999997</c:v>
                </c:pt>
                <c:pt idx="46">
                  <c:v>0.37277689999999997</c:v>
                </c:pt>
                <c:pt idx="47">
                  <c:v>5.7113310000000013</c:v>
                </c:pt>
                <c:pt idx="48">
                  <c:v>0.83674879999999996</c:v>
                </c:pt>
                <c:pt idx="49">
                  <c:v>5.8343966000000007</c:v>
                </c:pt>
                <c:pt idx="50">
                  <c:v>47.489896899999998</c:v>
                </c:pt>
                <c:pt idx="51">
                  <c:v>379.19030030000005</c:v>
                </c:pt>
                <c:pt idx="52">
                  <c:v>273.01368910000002</c:v>
                </c:pt>
                <c:pt idx="53">
                  <c:v>819.55023489999996</c:v>
                </c:pt>
                <c:pt idx="54">
                  <c:v>284.73831100000001</c:v>
                </c:pt>
                <c:pt idx="55">
                  <c:v>224.43391750000001</c:v>
                </c:pt>
                <c:pt idx="56">
                  <c:v>570.45222249999995</c:v>
                </c:pt>
                <c:pt idx="57">
                  <c:v>916.67171780000001</c:v>
                </c:pt>
                <c:pt idx="58">
                  <c:v>744.73888099999999</c:v>
                </c:pt>
                <c:pt idx="59">
                  <c:v>768.17483340000001</c:v>
                </c:pt>
                <c:pt idx="60">
                  <c:v>942.6467035999998</c:v>
                </c:pt>
                <c:pt idx="61">
                  <c:v>866.19861329999992</c:v>
                </c:pt>
                <c:pt idx="62">
                  <c:v>910.71925829999998</c:v>
                </c:pt>
                <c:pt idx="63">
                  <c:v>959.33668359999979</c:v>
                </c:pt>
                <c:pt idx="64">
                  <c:v>782.8724287</c:v>
                </c:pt>
                <c:pt idx="65">
                  <c:v>973.15372100000002</c:v>
                </c:pt>
                <c:pt idx="66">
                  <c:v>1055.7292945000002</c:v>
                </c:pt>
                <c:pt idx="67">
                  <c:v>1236.0226175999999</c:v>
                </c:pt>
                <c:pt idx="68">
                  <c:v>875.11777359999985</c:v>
                </c:pt>
                <c:pt idx="69">
                  <c:v>1137.3699186999997</c:v>
                </c:pt>
                <c:pt idx="70">
                  <c:v>1058.7904896999999</c:v>
                </c:pt>
                <c:pt idx="71">
                  <c:v>889.3352046</c:v>
                </c:pt>
                <c:pt idx="72">
                  <c:v>1161.3048541999999</c:v>
                </c:pt>
                <c:pt idx="73">
                  <c:v>1157.3324297999998</c:v>
                </c:pt>
                <c:pt idx="74">
                  <c:v>473.09678310000004</c:v>
                </c:pt>
                <c:pt idx="75">
                  <c:v>467.74910249999994</c:v>
                </c:pt>
                <c:pt idx="76">
                  <c:v>457.52210509999998</c:v>
                </c:pt>
                <c:pt idx="77">
                  <c:v>520.07393930000001</c:v>
                </c:pt>
                <c:pt idx="78">
                  <c:v>808.95297719999996</c:v>
                </c:pt>
                <c:pt idx="79">
                  <c:v>470.54142939999997</c:v>
                </c:pt>
                <c:pt idx="80">
                  <c:v>478.49864699999995</c:v>
                </c:pt>
                <c:pt idx="81">
                  <c:v>284.71491960000003</c:v>
                </c:pt>
                <c:pt idx="82">
                  <c:v>1.6131158000000001</c:v>
                </c:pt>
                <c:pt idx="83">
                  <c:v>13.6797678</c:v>
                </c:pt>
                <c:pt idx="84">
                  <c:v>6.6370946000000002</c:v>
                </c:pt>
                <c:pt idx="85">
                  <c:v>0.27329169999999997</c:v>
                </c:pt>
                <c:pt idx="86">
                  <c:v>83.036411000000001</c:v>
                </c:pt>
                <c:pt idx="87">
                  <c:v>319.49902679999997</c:v>
                </c:pt>
                <c:pt idx="88">
                  <c:v>321.12903169999998</c:v>
                </c:pt>
                <c:pt idx="89">
                  <c:v>312.33659410000001</c:v>
                </c:pt>
                <c:pt idx="90">
                  <c:v>335.84856479999996</c:v>
                </c:pt>
                <c:pt idx="91">
                  <c:v>375.87300089999997</c:v>
                </c:pt>
                <c:pt idx="92">
                  <c:v>327.37079590000002</c:v>
                </c:pt>
                <c:pt idx="93">
                  <c:v>392.35130669999995</c:v>
                </c:pt>
                <c:pt idx="94">
                  <c:v>328.90792299999998</c:v>
                </c:pt>
                <c:pt idx="95">
                  <c:v>385.65711460000006</c:v>
                </c:pt>
                <c:pt idx="96">
                  <c:v>318.10654160000007</c:v>
                </c:pt>
                <c:pt idx="97">
                  <c:v>151.32913399999998</c:v>
                </c:pt>
                <c:pt idx="98">
                  <c:v>327.11064220000003</c:v>
                </c:pt>
                <c:pt idx="99">
                  <c:v>585.25345549999997</c:v>
                </c:pt>
                <c:pt idx="100">
                  <c:v>546.18379370000002</c:v>
                </c:pt>
                <c:pt idx="101">
                  <c:v>1339.7173246</c:v>
                </c:pt>
                <c:pt idx="102">
                  <c:v>684.56596439999998</c:v>
                </c:pt>
                <c:pt idx="103">
                  <c:v>767.19906809999986</c:v>
                </c:pt>
                <c:pt idx="104">
                  <c:v>764.50407769999993</c:v>
                </c:pt>
                <c:pt idx="105">
                  <c:v>813.08360319999997</c:v>
                </c:pt>
                <c:pt idx="106">
                  <c:v>778.20032689999994</c:v>
                </c:pt>
                <c:pt idx="107">
                  <c:v>766.50777589999996</c:v>
                </c:pt>
                <c:pt idx="108">
                  <c:v>793.88445039999999</c:v>
                </c:pt>
                <c:pt idx="109">
                  <c:v>887.67475589999992</c:v>
                </c:pt>
                <c:pt idx="110">
                  <c:v>465.80926720000002</c:v>
                </c:pt>
                <c:pt idx="111">
                  <c:v>807.18571840000004</c:v>
                </c:pt>
                <c:pt idx="112">
                  <c:v>798.39087879999988</c:v>
                </c:pt>
                <c:pt idx="113">
                  <c:v>570.09544640000001</c:v>
                </c:pt>
                <c:pt idx="114">
                  <c:v>581.19448709999995</c:v>
                </c:pt>
                <c:pt idx="115">
                  <c:v>64.3560542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80-4D44-B5FB-C7344E7BB008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rgbClr val="7030A0"/>
            </a:solidFill>
            <a:ln w="28575">
              <a:solidFill>
                <a:srgbClr val="7030A0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H$2:$H$117</c:f>
              <c:numCache>
                <c:formatCode>#,##0</c:formatCode>
                <c:ptCount val="1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400.22956850000003</c:v>
                </c:pt>
                <c:pt idx="60">
                  <c:v>1556.4455026000001</c:v>
                </c:pt>
                <c:pt idx="61">
                  <c:v>2244.8974219000002</c:v>
                </c:pt>
                <c:pt idx="62">
                  <c:v>2244.8974219000002</c:v>
                </c:pt>
                <c:pt idx="63">
                  <c:v>2244.8974219000002</c:v>
                </c:pt>
                <c:pt idx="64">
                  <c:v>2244.8974219000002</c:v>
                </c:pt>
                <c:pt idx="65">
                  <c:v>2244.8974219000002</c:v>
                </c:pt>
                <c:pt idx="66">
                  <c:v>2244.8974219000002</c:v>
                </c:pt>
                <c:pt idx="67">
                  <c:v>2244.8974219000002</c:v>
                </c:pt>
                <c:pt idx="68">
                  <c:v>2244.8974219000002</c:v>
                </c:pt>
                <c:pt idx="69">
                  <c:v>2244.8974219000002</c:v>
                </c:pt>
                <c:pt idx="70">
                  <c:v>2244.8974219000002</c:v>
                </c:pt>
                <c:pt idx="71">
                  <c:v>1965.4433214000001</c:v>
                </c:pt>
                <c:pt idx="72">
                  <c:v>864.93928670000003</c:v>
                </c:pt>
                <c:pt idx="73">
                  <c:v>23.436795700000001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478.10597619999999</c:v>
                </c:pt>
                <c:pt idx="100">
                  <c:v>1650.1197104</c:v>
                </c:pt>
                <c:pt idx="101">
                  <c:v>3812.0408710999995</c:v>
                </c:pt>
                <c:pt idx="102">
                  <c:v>7378.7402345999999</c:v>
                </c:pt>
                <c:pt idx="103">
                  <c:v>8482.8415444000002</c:v>
                </c:pt>
                <c:pt idx="104">
                  <c:v>8836.8259003000003</c:v>
                </c:pt>
                <c:pt idx="105">
                  <c:v>8178.6350893999997</c:v>
                </c:pt>
                <c:pt idx="106">
                  <c:v>3139.0999053</c:v>
                </c:pt>
                <c:pt idx="107">
                  <c:v>1.36727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F80-4D44-B5FB-C7344E7BB008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Apple search</c:v>
                </c:pt>
              </c:strCache>
            </c:strRef>
          </c:tx>
          <c:spPr>
            <a:solidFill>
              <a:schemeClr val="tx1"/>
            </a:solidFill>
            <a:ln w="28575">
              <a:solidFill>
                <a:schemeClr val="tx1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I$2:$I$117</c:f>
              <c:numCache>
                <c:formatCode>#,##0</c:formatCode>
                <c:ptCount val="116"/>
                <c:pt idx="0">
                  <c:v>87.241109599999987</c:v>
                </c:pt>
                <c:pt idx="1">
                  <c:v>361.70319419999998</c:v>
                </c:pt>
                <c:pt idx="2">
                  <c:v>353.03669630000002</c:v>
                </c:pt>
                <c:pt idx="3">
                  <c:v>137.37159730000002</c:v>
                </c:pt>
                <c:pt idx="4">
                  <c:v>79.717743999999996</c:v>
                </c:pt>
                <c:pt idx="5">
                  <c:v>113.3009088</c:v>
                </c:pt>
                <c:pt idx="6">
                  <c:v>157.72474189999997</c:v>
                </c:pt>
                <c:pt idx="7">
                  <c:v>151.46015940000001</c:v>
                </c:pt>
                <c:pt idx="8">
                  <c:v>134.5218477</c:v>
                </c:pt>
                <c:pt idx="9">
                  <c:v>127.42263429999998</c:v>
                </c:pt>
                <c:pt idx="10">
                  <c:v>131.03776959999999</c:v>
                </c:pt>
                <c:pt idx="11">
                  <c:v>138.89921460000002</c:v>
                </c:pt>
                <c:pt idx="12">
                  <c:v>192.96720330000002</c:v>
                </c:pt>
                <c:pt idx="13">
                  <c:v>240.44719620000001</c:v>
                </c:pt>
                <c:pt idx="14">
                  <c:v>227.8997755</c:v>
                </c:pt>
                <c:pt idx="15">
                  <c:v>221.88772940000001</c:v>
                </c:pt>
                <c:pt idx="16">
                  <c:v>223.26826980000004</c:v>
                </c:pt>
                <c:pt idx="17">
                  <c:v>197.08539200000001</c:v>
                </c:pt>
                <c:pt idx="18">
                  <c:v>152.13391150000001</c:v>
                </c:pt>
                <c:pt idx="19">
                  <c:v>129.6713699</c:v>
                </c:pt>
                <c:pt idx="20">
                  <c:v>131.90407429999999</c:v>
                </c:pt>
                <c:pt idx="21">
                  <c:v>129.3366643</c:v>
                </c:pt>
                <c:pt idx="22">
                  <c:v>146.7809604</c:v>
                </c:pt>
                <c:pt idx="23">
                  <c:v>148.93341959999998</c:v>
                </c:pt>
                <c:pt idx="24">
                  <c:v>150.55378430000002</c:v>
                </c:pt>
                <c:pt idx="25">
                  <c:v>125.23055429999999</c:v>
                </c:pt>
                <c:pt idx="26">
                  <c:v>104.1415746</c:v>
                </c:pt>
                <c:pt idx="27">
                  <c:v>121.89979269999999</c:v>
                </c:pt>
                <c:pt idx="28">
                  <c:v>139.12944920000001</c:v>
                </c:pt>
                <c:pt idx="29">
                  <c:v>121.58858889999999</c:v>
                </c:pt>
                <c:pt idx="30">
                  <c:v>101.18534299999999</c:v>
                </c:pt>
                <c:pt idx="31">
                  <c:v>116.50059900000001</c:v>
                </c:pt>
                <c:pt idx="32">
                  <c:v>116.52450940000001</c:v>
                </c:pt>
                <c:pt idx="33">
                  <c:v>131.62771949999998</c:v>
                </c:pt>
                <c:pt idx="34">
                  <c:v>130.51288250000002</c:v>
                </c:pt>
                <c:pt idx="35">
                  <c:v>125.5507959</c:v>
                </c:pt>
                <c:pt idx="36">
                  <c:v>88.446981800000003</c:v>
                </c:pt>
                <c:pt idx="37">
                  <c:v>117.9636241</c:v>
                </c:pt>
                <c:pt idx="38">
                  <c:v>140.38234699999998</c:v>
                </c:pt>
                <c:pt idx="39">
                  <c:v>117.9966313</c:v>
                </c:pt>
                <c:pt idx="40">
                  <c:v>88.511114000000006</c:v>
                </c:pt>
                <c:pt idx="41">
                  <c:v>92.280410000000003</c:v>
                </c:pt>
                <c:pt idx="42">
                  <c:v>69.642464799999999</c:v>
                </c:pt>
                <c:pt idx="43">
                  <c:v>15.803955800000001</c:v>
                </c:pt>
                <c:pt idx="44">
                  <c:v>0.13444030000000001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36.703683299999994</c:v>
                </c:pt>
                <c:pt idx="60">
                  <c:v>144.89278199999998</c:v>
                </c:pt>
                <c:pt idx="61">
                  <c:v>186.73647400000002</c:v>
                </c:pt>
                <c:pt idx="62">
                  <c:v>152.30577310000001</c:v>
                </c:pt>
                <c:pt idx="63">
                  <c:v>145.11194310000002</c:v>
                </c:pt>
                <c:pt idx="64">
                  <c:v>146.5285982</c:v>
                </c:pt>
                <c:pt idx="65">
                  <c:v>180.70689050000001</c:v>
                </c:pt>
                <c:pt idx="66">
                  <c:v>198.29142539999998</c:v>
                </c:pt>
                <c:pt idx="67">
                  <c:v>215.65191010000004</c:v>
                </c:pt>
                <c:pt idx="68">
                  <c:v>247.7853628</c:v>
                </c:pt>
                <c:pt idx="69">
                  <c:v>258.77947760000001</c:v>
                </c:pt>
                <c:pt idx="70">
                  <c:v>256.23111979999999</c:v>
                </c:pt>
                <c:pt idx="71">
                  <c:v>231.75396170000002</c:v>
                </c:pt>
                <c:pt idx="72">
                  <c:v>206.76189840000001</c:v>
                </c:pt>
                <c:pt idx="73">
                  <c:v>173.30051570000001</c:v>
                </c:pt>
                <c:pt idx="74">
                  <c:v>168.60229049999998</c:v>
                </c:pt>
                <c:pt idx="75">
                  <c:v>166.82721709999998</c:v>
                </c:pt>
                <c:pt idx="76">
                  <c:v>150.735117</c:v>
                </c:pt>
                <c:pt idx="77">
                  <c:v>167.9596014</c:v>
                </c:pt>
                <c:pt idx="78">
                  <c:v>211.9234505</c:v>
                </c:pt>
                <c:pt idx="79">
                  <c:v>270.99332019999997</c:v>
                </c:pt>
                <c:pt idx="80">
                  <c:v>289.88448039999997</c:v>
                </c:pt>
                <c:pt idx="81">
                  <c:v>270.29483310000001</c:v>
                </c:pt>
                <c:pt idx="82">
                  <c:v>226.18888619999998</c:v>
                </c:pt>
                <c:pt idx="83">
                  <c:v>172.56455969999999</c:v>
                </c:pt>
                <c:pt idx="84">
                  <c:v>140.36718339999999</c:v>
                </c:pt>
                <c:pt idx="85">
                  <c:v>121.51392380000001</c:v>
                </c:pt>
                <c:pt idx="86">
                  <c:v>127.04212399999999</c:v>
                </c:pt>
                <c:pt idx="87">
                  <c:v>165.8343399</c:v>
                </c:pt>
                <c:pt idx="88">
                  <c:v>200.68746109999998</c:v>
                </c:pt>
                <c:pt idx="89">
                  <c:v>207.55725699999999</c:v>
                </c:pt>
                <c:pt idx="90">
                  <c:v>206.70509330000002</c:v>
                </c:pt>
                <c:pt idx="91">
                  <c:v>210.86018599999997</c:v>
                </c:pt>
                <c:pt idx="92">
                  <c:v>211.3572489</c:v>
                </c:pt>
                <c:pt idx="93">
                  <c:v>216.81455040000003</c:v>
                </c:pt>
                <c:pt idx="94">
                  <c:v>233.81339750000001</c:v>
                </c:pt>
                <c:pt idx="95">
                  <c:v>271.40492599999999</c:v>
                </c:pt>
                <c:pt idx="96">
                  <c:v>289.6915846</c:v>
                </c:pt>
                <c:pt idx="97">
                  <c:v>302.95308590000002</c:v>
                </c:pt>
                <c:pt idx="98">
                  <c:v>275.66528790000001</c:v>
                </c:pt>
                <c:pt idx="99">
                  <c:v>238.38269449999999</c:v>
                </c:pt>
                <c:pt idx="100">
                  <c:v>302.15716259999999</c:v>
                </c:pt>
                <c:pt idx="101">
                  <c:v>452.75532989999999</c:v>
                </c:pt>
                <c:pt idx="102">
                  <c:v>547.9490217</c:v>
                </c:pt>
                <c:pt idx="103">
                  <c:v>563.8107761</c:v>
                </c:pt>
                <c:pt idx="104">
                  <c:v>440.97345849999999</c:v>
                </c:pt>
                <c:pt idx="105">
                  <c:v>362.97045859999997</c:v>
                </c:pt>
                <c:pt idx="106">
                  <c:v>366.30365750000004</c:v>
                </c:pt>
                <c:pt idx="107">
                  <c:v>348.30530220000003</c:v>
                </c:pt>
                <c:pt idx="108">
                  <c:v>406.71950300000003</c:v>
                </c:pt>
                <c:pt idx="109">
                  <c:v>467.65359449999994</c:v>
                </c:pt>
                <c:pt idx="110">
                  <c:v>514.3143235</c:v>
                </c:pt>
                <c:pt idx="111">
                  <c:v>813.39097839999999</c:v>
                </c:pt>
                <c:pt idx="112">
                  <c:v>998.78533059999995</c:v>
                </c:pt>
                <c:pt idx="113">
                  <c:v>878.12632339999993</c:v>
                </c:pt>
                <c:pt idx="114">
                  <c:v>731.18373139999994</c:v>
                </c:pt>
                <c:pt idx="115">
                  <c:v>93.5730915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F80-4D44-B5FB-C7344E7BB008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Facebook</c:v>
                </c:pt>
              </c:strCache>
            </c:strRef>
          </c:tx>
          <c:spPr>
            <a:solidFill>
              <a:schemeClr val="accent2"/>
            </a:solidFill>
            <a:ln w="28575">
              <a:solidFill>
                <a:schemeClr val="accent2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J$2:$J$117</c:f>
              <c:numCache>
                <c:formatCode>#,##0</c:formatCode>
                <c:ptCount val="116"/>
                <c:pt idx="0">
                  <c:v>2484.2573757</c:v>
                </c:pt>
                <c:pt idx="1">
                  <c:v>4879.1952770999997</c:v>
                </c:pt>
                <c:pt idx="2">
                  <c:v>1532.2330281999998</c:v>
                </c:pt>
                <c:pt idx="3">
                  <c:v>780.17935740000007</c:v>
                </c:pt>
                <c:pt idx="4">
                  <c:v>1918.6694291999997</c:v>
                </c:pt>
                <c:pt idx="5">
                  <c:v>1840.3477395999998</c:v>
                </c:pt>
                <c:pt idx="6">
                  <c:v>1836.7354111000002</c:v>
                </c:pt>
                <c:pt idx="7">
                  <c:v>1998.7452784999998</c:v>
                </c:pt>
                <c:pt idx="8">
                  <c:v>2097.1163741999999</c:v>
                </c:pt>
                <c:pt idx="9">
                  <c:v>2349.4971203</c:v>
                </c:pt>
                <c:pt idx="10">
                  <c:v>2478.3746944999998</c:v>
                </c:pt>
                <c:pt idx="11">
                  <c:v>2584.3002079999997</c:v>
                </c:pt>
                <c:pt idx="12">
                  <c:v>2429.4248231000006</c:v>
                </c:pt>
                <c:pt idx="13">
                  <c:v>1969.9694040999998</c:v>
                </c:pt>
                <c:pt idx="14">
                  <c:v>1937.4887575999999</c:v>
                </c:pt>
                <c:pt idx="15">
                  <c:v>2103.1260609000001</c:v>
                </c:pt>
                <c:pt idx="16">
                  <c:v>2141.6320211000002</c:v>
                </c:pt>
                <c:pt idx="17">
                  <c:v>1775.6075894999999</c:v>
                </c:pt>
                <c:pt idx="18">
                  <c:v>2070.7993368000002</c:v>
                </c:pt>
                <c:pt idx="19">
                  <c:v>2431.3897544000001</c:v>
                </c:pt>
                <c:pt idx="20">
                  <c:v>2153.4779165</c:v>
                </c:pt>
                <c:pt idx="21">
                  <c:v>1754.7016008999999</c:v>
                </c:pt>
                <c:pt idx="22">
                  <c:v>1511.2597589000002</c:v>
                </c:pt>
                <c:pt idx="23">
                  <c:v>1574.4450129000002</c:v>
                </c:pt>
                <c:pt idx="24">
                  <c:v>2495.2890921999997</c:v>
                </c:pt>
                <c:pt idx="25">
                  <c:v>4784.1186379999999</c:v>
                </c:pt>
                <c:pt idx="26">
                  <c:v>6703.4811137000006</c:v>
                </c:pt>
                <c:pt idx="27">
                  <c:v>6949.8047307999996</c:v>
                </c:pt>
                <c:pt idx="28">
                  <c:v>5623.5997985000004</c:v>
                </c:pt>
                <c:pt idx="29">
                  <c:v>3089.9772510000003</c:v>
                </c:pt>
                <c:pt idx="30">
                  <c:v>2647.1183511999998</c:v>
                </c:pt>
                <c:pt idx="31">
                  <c:v>2433.6420044000001</c:v>
                </c:pt>
                <c:pt idx="32">
                  <c:v>2409.0488582999997</c:v>
                </c:pt>
                <c:pt idx="33">
                  <c:v>2997.4524168000003</c:v>
                </c:pt>
                <c:pt idx="34">
                  <c:v>2855.8185730999999</c:v>
                </c:pt>
                <c:pt idx="35">
                  <c:v>2310.9316083999997</c:v>
                </c:pt>
                <c:pt idx="36">
                  <c:v>1841.5640527</c:v>
                </c:pt>
                <c:pt idx="37">
                  <c:v>5726.194499199999</c:v>
                </c:pt>
                <c:pt idx="38">
                  <c:v>6710.4257486999995</c:v>
                </c:pt>
                <c:pt idx="39">
                  <c:v>4410.1163826000002</c:v>
                </c:pt>
                <c:pt idx="40">
                  <c:v>2224.8470962999995</c:v>
                </c:pt>
                <c:pt idx="41">
                  <c:v>448.0234519</c:v>
                </c:pt>
                <c:pt idx="42">
                  <c:v>43.750858100000002</c:v>
                </c:pt>
                <c:pt idx="43">
                  <c:v>11.340352600000001</c:v>
                </c:pt>
                <c:pt idx="44">
                  <c:v>7.4162873000000005</c:v>
                </c:pt>
                <c:pt idx="45">
                  <c:v>5.3410230999999992</c:v>
                </c:pt>
                <c:pt idx="46">
                  <c:v>9.8722996999999992</c:v>
                </c:pt>
                <c:pt idx="47">
                  <c:v>31.794595099999999</c:v>
                </c:pt>
                <c:pt idx="48">
                  <c:v>13.3466288</c:v>
                </c:pt>
                <c:pt idx="49">
                  <c:v>7.5401214000000003</c:v>
                </c:pt>
                <c:pt idx="50">
                  <c:v>16.9335837</c:v>
                </c:pt>
                <c:pt idx="51">
                  <c:v>5.3048643000000002</c:v>
                </c:pt>
                <c:pt idx="52">
                  <c:v>8.0597302000000006</c:v>
                </c:pt>
                <c:pt idx="53">
                  <c:v>103.87805019999999</c:v>
                </c:pt>
                <c:pt idx="54">
                  <c:v>218.0514034</c:v>
                </c:pt>
                <c:pt idx="55">
                  <c:v>276.64922139999999</c:v>
                </c:pt>
                <c:pt idx="56">
                  <c:v>464.30209190000005</c:v>
                </c:pt>
                <c:pt idx="57">
                  <c:v>749.41433510000002</c:v>
                </c:pt>
                <c:pt idx="58">
                  <c:v>967.93527479999989</c:v>
                </c:pt>
                <c:pt idx="59">
                  <c:v>1350.3299700999999</c:v>
                </c:pt>
                <c:pt idx="60">
                  <c:v>977.78346090000002</c:v>
                </c:pt>
                <c:pt idx="61">
                  <c:v>508.50680510000001</c:v>
                </c:pt>
                <c:pt idx="62">
                  <c:v>632.48112049999997</c:v>
                </c:pt>
                <c:pt idx="63">
                  <c:v>1093.9419561000002</c:v>
                </c:pt>
                <c:pt idx="64">
                  <c:v>1878.5702627999999</c:v>
                </c:pt>
                <c:pt idx="65">
                  <c:v>2446.9925951000005</c:v>
                </c:pt>
                <c:pt idx="66">
                  <c:v>3469.6032143000002</c:v>
                </c:pt>
                <c:pt idx="67">
                  <c:v>4017.1224393999992</c:v>
                </c:pt>
                <c:pt idx="68">
                  <c:v>4403.7983112000011</c:v>
                </c:pt>
                <c:pt idx="69">
                  <c:v>4452.2992820999998</c:v>
                </c:pt>
                <c:pt idx="70">
                  <c:v>4279.7891041000003</c:v>
                </c:pt>
                <c:pt idx="71">
                  <c:v>4223.4153943000001</c:v>
                </c:pt>
                <c:pt idx="72">
                  <c:v>3746.2003489999997</c:v>
                </c:pt>
                <c:pt idx="73">
                  <c:v>2318.4656076000001</c:v>
                </c:pt>
                <c:pt idx="74">
                  <c:v>728.62003230000005</c:v>
                </c:pt>
                <c:pt idx="75">
                  <c:v>132.0254391</c:v>
                </c:pt>
                <c:pt idx="76">
                  <c:v>145.19356849999997</c:v>
                </c:pt>
                <c:pt idx="77">
                  <c:v>179.66431599999999</c:v>
                </c:pt>
                <c:pt idx="78">
                  <c:v>205.6893221</c:v>
                </c:pt>
                <c:pt idx="79">
                  <c:v>243.05033359999999</c:v>
                </c:pt>
                <c:pt idx="80">
                  <c:v>419.1501571</c:v>
                </c:pt>
                <c:pt idx="81">
                  <c:v>486.84302630000002</c:v>
                </c:pt>
                <c:pt idx="82">
                  <c:v>311.23714599999994</c:v>
                </c:pt>
                <c:pt idx="83">
                  <c:v>132.9947726</c:v>
                </c:pt>
                <c:pt idx="84">
                  <c:v>105.27862020000001</c:v>
                </c:pt>
                <c:pt idx="85">
                  <c:v>67.166270400000002</c:v>
                </c:pt>
                <c:pt idx="86">
                  <c:v>55.372340399999992</c:v>
                </c:pt>
                <c:pt idx="87">
                  <c:v>96.612702300000009</c:v>
                </c:pt>
                <c:pt idx="88">
                  <c:v>159.48729839999999</c:v>
                </c:pt>
                <c:pt idx="89">
                  <c:v>184.4780313</c:v>
                </c:pt>
                <c:pt idx="90">
                  <c:v>186.56523369999999</c:v>
                </c:pt>
                <c:pt idx="91">
                  <c:v>296.43676289999996</c:v>
                </c:pt>
                <c:pt idx="92">
                  <c:v>320.13994819999999</c:v>
                </c:pt>
                <c:pt idx="93">
                  <c:v>306.51816660000003</c:v>
                </c:pt>
                <c:pt idx="94">
                  <c:v>300.58118580000001</c:v>
                </c:pt>
                <c:pt idx="95">
                  <c:v>388.45489020000002</c:v>
                </c:pt>
                <c:pt idx="96">
                  <c:v>380.8691877</c:v>
                </c:pt>
                <c:pt idx="97">
                  <c:v>510.89595389999999</c:v>
                </c:pt>
                <c:pt idx="98">
                  <c:v>722.71997210000006</c:v>
                </c:pt>
                <c:pt idx="99">
                  <c:v>806.26798020000001</c:v>
                </c:pt>
                <c:pt idx="100">
                  <c:v>868.26866999999993</c:v>
                </c:pt>
                <c:pt idx="101">
                  <c:v>1173.3700106000001</c:v>
                </c:pt>
                <c:pt idx="102">
                  <c:v>1657.5085472999997</c:v>
                </c:pt>
                <c:pt idx="103">
                  <c:v>1917.1133931999998</c:v>
                </c:pt>
                <c:pt idx="104">
                  <c:v>1839.5701988000001</c:v>
                </c:pt>
                <c:pt idx="105">
                  <c:v>1621.0700703</c:v>
                </c:pt>
                <c:pt idx="106">
                  <c:v>1471.3966965</c:v>
                </c:pt>
                <c:pt idx="107">
                  <c:v>1470.4154091999999</c:v>
                </c:pt>
                <c:pt idx="108">
                  <c:v>1411.6204484</c:v>
                </c:pt>
                <c:pt idx="109">
                  <c:v>1540.1315302</c:v>
                </c:pt>
                <c:pt idx="110">
                  <c:v>1797.7519376</c:v>
                </c:pt>
                <c:pt idx="111">
                  <c:v>1846.5279617000001</c:v>
                </c:pt>
                <c:pt idx="112">
                  <c:v>1730.8326227</c:v>
                </c:pt>
                <c:pt idx="113">
                  <c:v>1827.2248122999999</c:v>
                </c:pt>
                <c:pt idx="114">
                  <c:v>1736.4790026999999</c:v>
                </c:pt>
                <c:pt idx="115">
                  <c:v>207.95947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80-4D44-B5FB-C7344E7BB008}"/>
            </c:ext>
          </c:extLst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Google</c:v>
                </c:pt>
              </c:strCache>
            </c:strRef>
          </c:tx>
          <c:spPr>
            <a:solidFill>
              <a:srgbClr val="C00000"/>
            </a:solidFill>
            <a:ln w="28575">
              <a:solidFill>
                <a:srgbClr val="C00000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K$2:$K$117</c:f>
              <c:numCache>
                <c:formatCode>#,##0</c:formatCode>
                <c:ptCount val="116"/>
                <c:pt idx="0">
                  <c:v>1707.4057617999999</c:v>
                </c:pt>
                <c:pt idx="1">
                  <c:v>3337.7387319999998</c:v>
                </c:pt>
                <c:pt idx="2">
                  <c:v>1364.3438934999997</c:v>
                </c:pt>
                <c:pt idx="3">
                  <c:v>715.24164230000008</c:v>
                </c:pt>
                <c:pt idx="4">
                  <c:v>1427.5500881</c:v>
                </c:pt>
                <c:pt idx="5">
                  <c:v>1236.1013490999999</c:v>
                </c:pt>
                <c:pt idx="6">
                  <c:v>1056.3099293</c:v>
                </c:pt>
                <c:pt idx="7">
                  <c:v>959.31783159999986</c:v>
                </c:pt>
                <c:pt idx="8">
                  <c:v>1334.4466480000001</c:v>
                </c:pt>
                <c:pt idx="9">
                  <c:v>1760.1807055000002</c:v>
                </c:pt>
                <c:pt idx="10">
                  <c:v>1597.4886116999999</c:v>
                </c:pt>
                <c:pt idx="11">
                  <c:v>1292.2868745999999</c:v>
                </c:pt>
                <c:pt idx="12">
                  <c:v>1257.8116471000001</c:v>
                </c:pt>
                <c:pt idx="13">
                  <c:v>1405.6717286000001</c:v>
                </c:pt>
                <c:pt idx="14">
                  <c:v>1365.4039409</c:v>
                </c:pt>
                <c:pt idx="15">
                  <c:v>1282.2479823000001</c:v>
                </c:pt>
                <c:pt idx="16">
                  <c:v>1179.2936253</c:v>
                </c:pt>
                <c:pt idx="17">
                  <c:v>1293.5072934000002</c:v>
                </c:pt>
                <c:pt idx="18">
                  <c:v>1420.3232078999999</c:v>
                </c:pt>
                <c:pt idx="19">
                  <c:v>1483.7280739999999</c:v>
                </c:pt>
                <c:pt idx="20">
                  <c:v>1642.9469986999998</c:v>
                </c:pt>
                <c:pt idx="21">
                  <c:v>1628.9453344000001</c:v>
                </c:pt>
                <c:pt idx="22">
                  <c:v>1669.7749630000001</c:v>
                </c:pt>
                <c:pt idx="23">
                  <c:v>1484.0435571000003</c:v>
                </c:pt>
                <c:pt idx="24">
                  <c:v>1560.8270499</c:v>
                </c:pt>
                <c:pt idx="25">
                  <c:v>2268.1718062999998</c:v>
                </c:pt>
                <c:pt idx="26">
                  <c:v>2741.5282504999996</c:v>
                </c:pt>
                <c:pt idx="27">
                  <c:v>3070.5802271000002</c:v>
                </c:pt>
                <c:pt idx="28">
                  <c:v>2571.0050160000001</c:v>
                </c:pt>
                <c:pt idx="29">
                  <c:v>2386.7586379999998</c:v>
                </c:pt>
                <c:pt idx="30">
                  <c:v>2515.8132191</c:v>
                </c:pt>
                <c:pt idx="31">
                  <c:v>2251.5673575999999</c:v>
                </c:pt>
                <c:pt idx="32">
                  <c:v>2300.1145492999999</c:v>
                </c:pt>
                <c:pt idx="33">
                  <c:v>3280.0022383</c:v>
                </c:pt>
                <c:pt idx="34">
                  <c:v>3253.4342918999996</c:v>
                </c:pt>
                <c:pt idx="35">
                  <c:v>2765.4474442000001</c:v>
                </c:pt>
                <c:pt idx="36">
                  <c:v>1499.0582270000002</c:v>
                </c:pt>
                <c:pt idx="37">
                  <c:v>2901.4471132999997</c:v>
                </c:pt>
                <c:pt idx="38">
                  <c:v>4608.9010562000003</c:v>
                </c:pt>
                <c:pt idx="39">
                  <c:v>4338.9091731000008</c:v>
                </c:pt>
                <c:pt idx="40">
                  <c:v>1767.3841165000001</c:v>
                </c:pt>
                <c:pt idx="41">
                  <c:v>283.5046997</c:v>
                </c:pt>
                <c:pt idx="42">
                  <c:v>21.006883399999996</c:v>
                </c:pt>
                <c:pt idx="43">
                  <c:v>1.9203000000000001E-2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100.290255</c:v>
                </c:pt>
                <c:pt idx="57">
                  <c:v>392.41316929999999</c:v>
                </c:pt>
                <c:pt idx="58">
                  <c:v>585.24048190000008</c:v>
                </c:pt>
                <c:pt idx="59">
                  <c:v>801.40245760000005</c:v>
                </c:pt>
                <c:pt idx="60">
                  <c:v>1162.0288929000001</c:v>
                </c:pt>
                <c:pt idx="61">
                  <c:v>1453.0031900000001</c:v>
                </c:pt>
                <c:pt idx="62">
                  <c:v>1300.7733335</c:v>
                </c:pt>
                <c:pt idx="63">
                  <c:v>783.61946799999987</c:v>
                </c:pt>
                <c:pt idx="64">
                  <c:v>689.14827209999999</c:v>
                </c:pt>
                <c:pt idx="65">
                  <c:v>1032.4787739000001</c:v>
                </c:pt>
                <c:pt idx="66">
                  <c:v>1688.9561894000001</c:v>
                </c:pt>
                <c:pt idx="67">
                  <c:v>2699.7234036</c:v>
                </c:pt>
                <c:pt idx="68">
                  <c:v>3229.2883613000004</c:v>
                </c:pt>
                <c:pt idx="69">
                  <c:v>3816.6396600999997</c:v>
                </c:pt>
                <c:pt idx="70">
                  <c:v>3679.9503623000001</c:v>
                </c:pt>
                <c:pt idx="71">
                  <c:v>3370.9642500999998</c:v>
                </c:pt>
                <c:pt idx="72">
                  <c:v>3144.3888328000003</c:v>
                </c:pt>
                <c:pt idx="73">
                  <c:v>2467.8333847999997</c:v>
                </c:pt>
                <c:pt idx="74">
                  <c:v>866.00630480000007</c:v>
                </c:pt>
                <c:pt idx="75">
                  <c:v>255.90930600000002</c:v>
                </c:pt>
                <c:pt idx="76">
                  <c:v>182.19441119999999</c:v>
                </c:pt>
                <c:pt idx="77">
                  <c:v>226.1162764</c:v>
                </c:pt>
                <c:pt idx="78">
                  <c:v>413.0702258</c:v>
                </c:pt>
                <c:pt idx="79">
                  <c:v>728.33632209999996</c:v>
                </c:pt>
                <c:pt idx="80">
                  <c:v>967.86082659999988</c:v>
                </c:pt>
                <c:pt idx="81">
                  <c:v>1282.4092000000001</c:v>
                </c:pt>
                <c:pt idx="82">
                  <c:v>1053.3723814</c:v>
                </c:pt>
                <c:pt idx="83">
                  <c:v>584.13252280000006</c:v>
                </c:pt>
                <c:pt idx="84">
                  <c:v>223.60057659999998</c:v>
                </c:pt>
                <c:pt idx="85">
                  <c:v>157.33289280000002</c:v>
                </c:pt>
                <c:pt idx="86">
                  <c:v>206.7786141</c:v>
                </c:pt>
                <c:pt idx="87">
                  <c:v>389.59256849999997</c:v>
                </c:pt>
                <c:pt idx="88">
                  <c:v>444.04823459999994</c:v>
                </c:pt>
                <c:pt idx="89">
                  <c:v>486.2153624</c:v>
                </c:pt>
                <c:pt idx="90">
                  <c:v>446.12950539999997</c:v>
                </c:pt>
                <c:pt idx="91">
                  <c:v>472.26427550000005</c:v>
                </c:pt>
                <c:pt idx="92">
                  <c:v>633.82635549999998</c:v>
                </c:pt>
                <c:pt idx="93">
                  <c:v>1175.1407260999999</c:v>
                </c:pt>
                <c:pt idx="94">
                  <c:v>1386.2241368</c:v>
                </c:pt>
                <c:pt idx="95">
                  <c:v>1571.7497331000002</c:v>
                </c:pt>
                <c:pt idx="96">
                  <c:v>1781.6877474</c:v>
                </c:pt>
                <c:pt idx="97">
                  <c:v>1956.0769098999999</c:v>
                </c:pt>
                <c:pt idx="98">
                  <c:v>1853.2466670000001</c:v>
                </c:pt>
                <c:pt idx="99">
                  <c:v>1194.7591345000001</c:v>
                </c:pt>
                <c:pt idx="100">
                  <c:v>1202.4108564000001</c:v>
                </c:pt>
                <c:pt idx="101">
                  <c:v>1488.6364670999999</c:v>
                </c:pt>
                <c:pt idx="102">
                  <c:v>1984.1156949000001</c:v>
                </c:pt>
                <c:pt idx="103">
                  <c:v>2464.0829787000002</c:v>
                </c:pt>
                <c:pt idx="104">
                  <c:v>2907.6940581000003</c:v>
                </c:pt>
                <c:pt idx="105">
                  <c:v>3094.3351942999998</c:v>
                </c:pt>
                <c:pt idx="106">
                  <c:v>2987.1821497999995</c:v>
                </c:pt>
                <c:pt idx="107">
                  <c:v>3034.0971491</c:v>
                </c:pt>
                <c:pt idx="108">
                  <c:v>2925.2544046000003</c:v>
                </c:pt>
                <c:pt idx="109">
                  <c:v>2835.6751000999998</c:v>
                </c:pt>
                <c:pt idx="110">
                  <c:v>2667.6184309999999</c:v>
                </c:pt>
                <c:pt idx="111">
                  <c:v>1703.8725024</c:v>
                </c:pt>
                <c:pt idx="112">
                  <c:v>1356.9384108000002</c:v>
                </c:pt>
                <c:pt idx="113">
                  <c:v>1340.8177250000001</c:v>
                </c:pt>
                <c:pt idx="114">
                  <c:v>1342.0513579000001</c:v>
                </c:pt>
                <c:pt idx="115">
                  <c:v>209.31690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F80-4D44-B5FB-C7344E7BB0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77514272"/>
        <c:axId val="27751483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ual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B$2:$B$175</c:f>
              <c:numCache>
                <c:formatCode>#,##0</c:formatCode>
                <c:ptCount val="116"/>
                <c:pt idx="0">
                  <c:v>18705</c:v>
                </c:pt>
                <c:pt idx="1">
                  <c:v>20095</c:v>
                </c:pt>
                <c:pt idx="2">
                  <c:v>18123</c:v>
                </c:pt>
                <c:pt idx="3">
                  <c:v>15241</c:v>
                </c:pt>
                <c:pt idx="4">
                  <c:v>18547</c:v>
                </c:pt>
                <c:pt idx="5">
                  <c:v>21903</c:v>
                </c:pt>
                <c:pt idx="6">
                  <c:v>26370</c:v>
                </c:pt>
                <c:pt idx="7">
                  <c:v>28661</c:v>
                </c:pt>
                <c:pt idx="8">
                  <c:v>33628</c:v>
                </c:pt>
                <c:pt idx="9">
                  <c:v>33942</c:v>
                </c:pt>
                <c:pt idx="10">
                  <c:v>35421</c:v>
                </c:pt>
                <c:pt idx="11">
                  <c:v>40751</c:v>
                </c:pt>
                <c:pt idx="12">
                  <c:v>42006</c:v>
                </c:pt>
                <c:pt idx="13">
                  <c:v>44666</c:v>
                </c:pt>
                <c:pt idx="14">
                  <c:v>42550</c:v>
                </c:pt>
                <c:pt idx="15">
                  <c:v>44203</c:v>
                </c:pt>
                <c:pt idx="16">
                  <c:v>43044</c:v>
                </c:pt>
                <c:pt idx="17">
                  <c:v>30653</c:v>
                </c:pt>
                <c:pt idx="18">
                  <c:v>28977</c:v>
                </c:pt>
                <c:pt idx="19">
                  <c:v>29438</c:v>
                </c:pt>
                <c:pt idx="20">
                  <c:v>37462</c:v>
                </c:pt>
                <c:pt idx="21">
                  <c:v>28075</c:v>
                </c:pt>
                <c:pt idx="22">
                  <c:v>24085</c:v>
                </c:pt>
                <c:pt idx="23">
                  <c:v>23492</c:v>
                </c:pt>
                <c:pt idx="24">
                  <c:v>33347</c:v>
                </c:pt>
                <c:pt idx="25">
                  <c:v>37356</c:v>
                </c:pt>
                <c:pt idx="26">
                  <c:v>49361</c:v>
                </c:pt>
                <c:pt idx="27">
                  <c:v>50641</c:v>
                </c:pt>
                <c:pt idx="28">
                  <c:v>46316</c:v>
                </c:pt>
                <c:pt idx="29">
                  <c:v>46456</c:v>
                </c:pt>
                <c:pt idx="30">
                  <c:v>28796</c:v>
                </c:pt>
                <c:pt idx="31">
                  <c:v>29171</c:v>
                </c:pt>
                <c:pt idx="32">
                  <c:v>29478</c:v>
                </c:pt>
                <c:pt idx="33">
                  <c:v>28413</c:v>
                </c:pt>
                <c:pt idx="34">
                  <c:v>27706</c:v>
                </c:pt>
                <c:pt idx="35">
                  <c:v>31161</c:v>
                </c:pt>
                <c:pt idx="36">
                  <c:v>32095</c:v>
                </c:pt>
                <c:pt idx="37">
                  <c:v>32506</c:v>
                </c:pt>
                <c:pt idx="38">
                  <c:v>32281</c:v>
                </c:pt>
                <c:pt idx="39">
                  <c:v>26928</c:v>
                </c:pt>
                <c:pt idx="40">
                  <c:v>15219</c:v>
                </c:pt>
                <c:pt idx="41">
                  <c:v>5545</c:v>
                </c:pt>
                <c:pt idx="42">
                  <c:v>3210</c:v>
                </c:pt>
                <c:pt idx="43">
                  <c:v>2490</c:v>
                </c:pt>
                <c:pt idx="44">
                  <c:v>2328</c:v>
                </c:pt>
                <c:pt idx="45">
                  <c:v>2296</c:v>
                </c:pt>
                <c:pt idx="46">
                  <c:v>2279</c:v>
                </c:pt>
                <c:pt idx="47">
                  <c:v>2595</c:v>
                </c:pt>
                <c:pt idx="48">
                  <c:v>2772</c:v>
                </c:pt>
                <c:pt idx="49">
                  <c:v>3112</c:v>
                </c:pt>
                <c:pt idx="50">
                  <c:v>4004</c:v>
                </c:pt>
                <c:pt idx="51">
                  <c:v>5590</c:v>
                </c:pt>
                <c:pt idx="52">
                  <c:v>5989</c:v>
                </c:pt>
                <c:pt idx="53">
                  <c:v>7195</c:v>
                </c:pt>
                <c:pt idx="54">
                  <c:v>9303</c:v>
                </c:pt>
                <c:pt idx="55">
                  <c:v>9672</c:v>
                </c:pt>
                <c:pt idx="56">
                  <c:v>12235</c:v>
                </c:pt>
                <c:pt idx="57">
                  <c:v>13560</c:v>
                </c:pt>
                <c:pt idx="58">
                  <c:v>15931</c:v>
                </c:pt>
                <c:pt idx="59">
                  <c:v>20312</c:v>
                </c:pt>
                <c:pt idx="60">
                  <c:v>20975</c:v>
                </c:pt>
                <c:pt idx="61">
                  <c:v>21889</c:v>
                </c:pt>
                <c:pt idx="62">
                  <c:v>22669</c:v>
                </c:pt>
                <c:pt idx="63">
                  <c:v>30369</c:v>
                </c:pt>
                <c:pt idx="64">
                  <c:v>28735</c:v>
                </c:pt>
                <c:pt idx="65">
                  <c:v>29155</c:v>
                </c:pt>
                <c:pt idx="66">
                  <c:v>25976</c:v>
                </c:pt>
                <c:pt idx="67">
                  <c:v>32189</c:v>
                </c:pt>
                <c:pt idx="68">
                  <c:v>38032</c:v>
                </c:pt>
                <c:pt idx="69">
                  <c:v>34707</c:v>
                </c:pt>
                <c:pt idx="70">
                  <c:v>32356</c:v>
                </c:pt>
                <c:pt idx="71">
                  <c:v>24598</c:v>
                </c:pt>
                <c:pt idx="72">
                  <c:v>25024</c:v>
                </c:pt>
                <c:pt idx="73">
                  <c:v>14037</c:v>
                </c:pt>
                <c:pt idx="74">
                  <c:v>8835</c:v>
                </c:pt>
                <c:pt idx="75">
                  <c:v>6176</c:v>
                </c:pt>
                <c:pt idx="76">
                  <c:v>6169</c:v>
                </c:pt>
                <c:pt idx="77">
                  <c:v>11518</c:v>
                </c:pt>
                <c:pt idx="78">
                  <c:v>15653</c:v>
                </c:pt>
                <c:pt idx="79">
                  <c:v>11524</c:v>
                </c:pt>
                <c:pt idx="80">
                  <c:v>11850</c:v>
                </c:pt>
                <c:pt idx="81">
                  <c:v>9014</c:v>
                </c:pt>
                <c:pt idx="82">
                  <c:v>6477</c:v>
                </c:pt>
                <c:pt idx="83">
                  <c:v>5393</c:v>
                </c:pt>
                <c:pt idx="84">
                  <c:v>5036</c:v>
                </c:pt>
                <c:pt idx="85">
                  <c:v>5550</c:v>
                </c:pt>
                <c:pt idx="86">
                  <c:v>6838</c:v>
                </c:pt>
                <c:pt idx="87">
                  <c:v>9592</c:v>
                </c:pt>
                <c:pt idx="88">
                  <c:v>8089</c:v>
                </c:pt>
                <c:pt idx="89">
                  <c:v>7777</c:v>
                </c:pt>
                <c:pt idx="90">
                  <c:v>8580</c:v>
                </c:pt>
                <c:pt idx="91">
                  <c:v>8749</c:v>
                </c:pt>
                <c:pt idx="92">
                  <c:v>9747</c:v>
                </c:pt>
                <c:pt idx="93">
                  <c:v>11324</c:v>
                </c:pt>
                <c:pt idx="94">
                  <c:v>16701</c:v>
                </c:pt>
                <c:pt idx="95">
                  <c:v>16647</c:v>
                </c:pt>
                <c:pt idx="96">
                  <c:v>20668</c:v>
                </c:pt>
                <c:pt idx="97">
                  <c:v>19697</c:v>
                </c:pt>
                <c:pt idx="98">
                  <c:v>21174</c:v>
                </c:pt>
                <c:pt idx="99">
                  <c:v>20523</c:v>
                </c:pt>
                <c:pt idx="100">
                  <c:v>22815</c:v>
                </c:pt>
                <c:pt idx="101">
                  <c:v>30985</c:v>
                </c:pt>
                <c:pt idx="102">
                  <c:v>36885</c:v>
                </c:pt>
                <c:pt idx="103">
                  <c:v>34128</c:v>
                </c:pt>
                <c:pt idx="104">
                  <c:v>31756</c:v>
                </c:pt>
                <c:pt idx="105">
                  <c:v>35413</c:v>
                </c:pt>
                <c:pt idx="106">
                  <c:v>36953</c:v>
                </c:pt>
                <c:pt idx="107">
                  <c:v>38833</c:v>
                </c:pt>
                <c:pt idx="108">
                  <c:v>37829</c:v>
                </c:pt>
                <c:pt idx="109">
                  <c:v>36447</c:v>
                </c:pt>
                <c:pt idx="110">
                  <c:v>40866</c:v>
                </c:pt>
                <c:pt idx="111">
                  <c:v>38132</c:v>
                </c:pt>
                <c:pt idx="112">
                  <c:v>38484</c:v>
                </c:pt>
                <c:pt idx="113">
                  <c:v>35839</c:v>
                </c:pt>
                <c:pt idx="114">
                  <c:v>35518</c:v>
                </c:pt>
                <c:pt idx="115">
                  <c:v>3852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17B6-4818-925F-A1C544F085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7514272"/>
        <c:axId val="277514832"/>
      </c:lineChart>
      <c:dateAx>
        <c:axId val="277514272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7514832"/>
        <c:crossesAt val="0"/>
        <c:auto val="0"/>
        <c:lblOffset val="100"/>
        <c:baseTimeUnit val="days"/>
      </c:dateAx>
      <c:valAx>
        <c:axId val="2775148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/>
                  <a:t>Decomps</a:t>
                </a:r>
              </a:p>
            </c:rich>
          </c:tx>
          <c:layout>
            <c:manualLayout>
              <c:xMode val="edge"/>
              <c:yMode val="edge"/>
              <c:x val="3.8435345703054992E-2"/>
              <c:y val="0.386098261534172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7514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4566920620368594E-2"/>
          <c:y val="0.94683576575594519"/>
          <c:w val="0.89999998122893765"/>
          <c:h val="4.55992122846425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irst time activations from model</a:t>
            </a:r>
            <a:endParaRPr lang="en-IN"/>
          </a:p>
        </c:rich>
      </c:tx>
      <c:layout>
        <c:manualLayout>
          <c:xMode val="edge"/>
          <c:yMode val="edge"/>
          <c:x val="0.46789810466706799"/>
          <c:y val="5.91848798045087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758461163752039"/>
          <c:y val="0.10587154523057826"/>
          <c:w val="0.86370781389216877"/>
          <c:h val="0.70497627599232382"/>
        </c:manualLayout>
      </c:layout>
      <c:barChart>
        <c:barDir val="col"/>
        <c:grouping val="stacked"/>
        <c:varyColors val="0"/>
        <c:ser>
          <c:idx val="10"/>
          <c:order val="10"/>
          <c:tx>
            <c:strRef>
              <c:f>Sheet1!$L$1</c:f>
              <c:strCache>
                <c:ptCount val="1"/>
                <c:pt idx="0">
                  <c:v>Other Media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 w="28575">
              <a:solidFill>
                <a:schemeClr val="bg1">
                  <a:lumMod val="50000"/>
                </a:schemeClr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L$2:$L$117</c:f>
              <c:numCache>
                <c:formatCode>#,##0</c:formatCode>
                <c:ptCount val="116"/>
                <c:pt idx="0">
                  <c:v>217.87187280000001</c:v>
                </c:pt>
                <c:pt idx="1">
                  <c:v>517.60616789999995</c:v>
                </c:pt>
                <c:pt idx="2">
                  <c:v>559.91002760000003</c:v>
                </c:pt>
                <c:pt idx="3">
                  <c:v>298.8763945</c:v>
                </c:pt>
                <c:pt idx="4">
                  <c:v>69.106718200000003</c:v>
                </c:pt>
                <c:pt idx="5">
                  <c:v>43.688061200000007</c:v>
                </c:pt>
                <c:pt idx="6">
                  <c:v>43.688061200000007</c:v>
                </c:pt>
                <c:pt idx="7">
                  <c:v>38.395125399999998</c:v>
                </c:pt>
                <c:pt idx="8">
                  <c:v>20.087454699999999</c:v>
                </c:pt>
                <c:pt idx="9">
                  <c:v>15.806402899999998</c:v>
                </c:pt>
                <c:pt idx="10">
                  <c:v>15.690334799999999</c:v>
                </c:pt>
                <c:pt idx="11">
                  <c:v>17.023579599999998</c:v>
                </c:pt>
                <c:pt idx="12">
                  <c:v>67.322615999999996</c:v>
                </c:pt>
                <c:pt idx="13">
                  <c:v>97.197411299999999</c:v>
                </c:pt>
                <c:pt idx="14">
                  <c:v>99.77360259999999</c:v>
                </c:pt>
                <c:pt idx="15">
                  <c:v>99.77360259999999</c:v>
                </c:pt>
                <c:pt idx="16">
                  <c:v>118.27550890000001</c:v>
                </c:pt>
                <c:pt idx="17">
                  <c:v>143.72925759999998</c:v>
                </c:pt>
                <c:pt idx="18">
                  <c:v>147.32174519999998</c:v>
                </c:pt>
                <c:pt idx="19">
                  <c:v>147.32174519999998</c:v>
                </c:pt>
                <c:pt idx="20">
                  <c:v>142.93216050000001</c:v>
                </c:pt>
                <c:pt idx="21">
                  <c:v>116.48698570000002</c:v>
                </c:pt>
                <c:pt idx="22">
                  <c:v>108.30866690000001</c:v>
                </c:pt>
                <c:pt idx="23">
                  <c:v>107.9383564</c:v>
                </c:pt>
                <c:pt idx="24">
                  <c:v>109.8009366</c:v>
                </c:pt>
                <c:pt idx="25">
                  <c:v>180.07009680000002</c:v>
                </c:pt>
                <c:pt idx="26">
                  <c:v>221.80602139999999</c:v>
                </c:pt>
                <c:pt idx="27">
                  <c:v>225.40503299999997</c:v>
                </c:pt>
                <c:pt idx="28">
                  <c:v>225.40503299999997</c:v>
                </c:pt>
                <c:pt idx="29">
                  <c:v>201.0774687</c:v>
                </c:pt>
                <c:pt idx="30">
                  <c:v>148.8636061</c:v>
                </c:pt>
                <c:pt idx="31">
                  <c:v>139.439761</c:v>
                </c:pt>
                <c:pt idx="32">
                  <c:v>139.3343581</c:v>
                </c:pt>
                <c:pt idx="33">
                  <c:v>133.292958</c:v>
                </c:pt>
                <c:pt idx="34">
                  <c:v>58.696382899999996</c:v>
                </c:pt>
                <c:pt idx="35">
                  <c:v>27.317472600000002</c:v>
                </c:pt>
                <c:pt idx="36">
                  <c:v>61.581090100000004</c:v>
                </c:pt>
                <c:pt idx="37">
                  <c:v>118.3353698</c:v>
                </c:pt>
                <c:pt idx="38">
                  <c:v>255.17977329999999</c:v>
                </c:pt>
                <c:pt idx="39">
                  <c:v>373.10985160000001</c:v>
                </c:pt>
                <c:pt idx="40">
                  <c:v>192.17676950000003</c:v>
                </c:pt>
                <c:pt idx="41">
                  <c:v>46.267796199999992</c:v>
                </c:pt>
                <c:pt idx="42">
                  <c:v>28.810148200000004</c:v>
                </c:pt>
                <c:pt idx="43">
                  <c:v>4.4453364999999998</c:v>
                </c:pt>
                <c:pt idx="44">
                  <c:v>4.91698E-2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45.558294600000004</c:v>
                </c:pt>
                <c:pt idx="52">
                  <c:v>85.660079499999995</c:v>
                </c:pt>
                <c:pt idx="53">
                  <c:v>90.096407100000022</c:v>
                </c:pt>
                <c:pt idx="54">
                  <c:v>90.096407100000022</c:v>
                </c:pt>
                <c:pt idx="55">
                  <c:v>116.94087570000001</c:v>
                </c:pt>
                <c:pt idx="56">
                  <c:v>174.55673040000002</c:v>
                </c:pt>
                <c:pt idx="57">
                  <c:v>184.95555619999999</c:v>
                </c:pt>
                <c:pt idx="58">
                  <c:v>185.07186389999998</c:v>
                </c:pt>
                <c:pt idx="59">
                  <c:v>201.91086479999998</c:v>
                </c:pt>
                <c:pt idx="60">
                  <c:v>409.83150740000002</c:v>
                </c:pt>
                <c:pt idx="61">
                  <c:v>497.29293739999997</c:v>
                </c:pt>
                <c:pt idx="62">
                  <c:v>551.63272329999995</c:v>
                </c:pt>
                <c:pt idx="63">
                  <c:v>759.03874429999996</c:v>
                </c:pt>
                <c:pt idx="64">
                  <c:v>1058.4174945</c:v>
                </c:pt>
                <c:pt idx="65">
                  <c:v>1813.5204222999998</c:v>
                </c:pt>
                <c:pt idx="66">
                  <c:v>2332.3356873000002</c:v>
                </c:pt>
                <c:pt idx="67">
                  <c:v>1853.0792633999999</c:v>
                </c:pt>
                <c:pt idx="68">
                  <c:v>1770.7378924</c:v>
                </c:pt>
                <c:pt idx="69">
                  <c:v>1827.6248099999998</c:v>
                </c:pt>
                <c:pt idx="70">
                  <c:v>1649.0510619000001</c:v>
                </c:pt>
                <c:pt idx="71">
                  <c:v>1149.3030069000001</c:v>
                </c:pt>
                <c:pt idx="72">
                  <c:v>1521.6874640000003</c:v>
                </c:pt>
                <c:pt idx="73">
                  <c:v>866.03270050000003</c:v>
                </c:pt>
                <c:pt idx="74">
                  <c:v>289.69708980000007</c:v>
                </c:pt>
                <c:pt idx="75">
                  <c:v>89.165254399999995</c:v>
                </c:pt>
                <c:pt idx="76">
                  <c:v>29.096655899999998</c:v>
                </c:pt>
                <c:pt idx="77">
                  <c:v>16.5306122</c:v>
                </c:pt>
                <c:pt idx="78">
                  <c:v>567.61728670000002</c:v>
                </c:pt>
                <c:pt idx="79">
                  <c:v>657.69425349999995</c:v>
                </c:pt>
                <c:pt idx="80">
                  <c:v>411.24535410000004</c:v>
                </c:pt>
                <c:pt idx="81">
                  <c:v>432.45822580000004</c:v>
                </c:pt>
                <c:pt idx="82">
                  <c:v>358.40237500000001</c:v>
                </c:pt>
                <c:pt idx="83">
                  <c:v>70.175837499999986</c:v>
                </c:pt>
                <c:pt idx="84">
                  <c:v>2.0766616000000004</c:v>
                </c:pt>
                <c:pt idx="85">
                  <c:v>0</c:v>
                </c:pt>
                <c:pt idx="86">
                  <c:v>16.045693</c:v>
                </c:pt>
                <c:pt idx="87">
                  <c:v>51.329895499999999</c:v>
                </c:pt>
                <c:pt idx="88">
                  <c:v>59.558498700000001</c:v>
                </c:pt>
                <c:pt idx="89">
                  <c:v>60.680213899999998</c:v>
                </c:pt>
                <c:pt idx="90">
                  <c:v>80.41725670000001</c:v>
                </c:pt>
                <c:pt idx="91">
                  <c:v>94.697091499999999</c:v>
                </c:pt>
                <c:pt idx="92">
                  <c:v>145.42021619999997</c:v>
                </c:pt>
                <c:pt idx="93">
                  <c:v>219.69268089999997</c:v>
                </c:pt>
                <c:pt idx="94">
                  <c:v>245.99335630000002</c:v>
                </c:pt>
                <c:pt idx="95">
                  <c:v>292.64977299999998</c:v>
                </c:pt>
                <c:pt idx="96">
                  <c:v>342.58928049999997</c:v>
                </c:pt>
                <c:pt idx="97">
                  <c:v>391.88932349999999</c:v>
                </c:pt>
                <c:pt idx="98">
                  <c:v>372.10572719999999</c:v>
                </c:pt>
                <c:pt idx="99">
                  <c:v>634.88071880000007</c:v>
                </c:pt>
                <c:pt idx="100">
                  <c:v>775.49997819999999</c:v>
                </c:pt>
                <c:pt idx="101">
                  <c:v>803.24751689999994</c:v>
                </c:pt>
                <c:pt idx="102">
                  <c:v>883.56993780000005</c:v>
                </c:pt>
                <c:pt idx="103">
                  <c:v>765.29252800000006</c:v>
                </c:pt>
                <c:pt idx="104">
                  <c:v>505.15775780000007</c:v>
                </c:pt>
                <c:pt idx="105">
                  <c:v>424.66087279999999</c:v>
                </c:pt>
                <c:pt idx="106">
                  <c:v>385.68912680000005</c:v>
                </c:pt>
                <c:pt idx="107">
                  <c:v>407.93590250000011</c:v>
                </c:pt>
                <c:pt idx="108">
                  <c:v>437.32424109999999</c:v>
                </c:pt>
                <c:pt idx="109">
                  <c:v>418.90298310000003</c:v>
                </c:pt>
                <c:pt idx="110">
                  <c:v>314.84609189999998</c:v>
                </c:pt>
                <c:pt idx="111">
                  <c:v>253.426424</c:v>
                </c:pt>
                <c:pt idx="112">
                  <c:v>249.95849390000001</c:v>
                </c:pt>
                <c:pt idx="113">
                  <c:v>126.53196010000001</c:v>
                </c:pt>
                <c:pt idx="114">
                  <c:v>5.9976493999999994</c:v>
                </c:pt>
                <c:pt idx="115">
                  <c:v>3.20790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F80-4D44-B5FB-C7344E7BB008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 w="28575">
              <a:solidFill>
                <a:schemeClr val="accent3">
                  <a:lumMod val="50000"/>
                </a:schemeClr>
              </a:solidFill>
            </a:ln>
            <a:effectLst/>
          </c:spPr>
          <c:invertIfNegative val="0"/>
          <c:cat>
            <c:numRef>
              <c:f>Sheet1!$A$2:$A$175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D$2:$D$175</c:f>
              <c:numCache>
                <c:formatCode>#,##0</c:formatCode>
                <c:ptCount val="116"/>
                <c:pt idx="0">
                  <c:v>14535.212711921125</c:v>
                </c:pt>
                <c:pt idx="1">
                  <c:v>15036.668965466746</c:v>
                </c:pt>
                <c:pt idx="2">
                  <c:v>14927.355642235416</c:v>
                </c:pt>
                <c:pt idx="3">
                  <c:v>14936.944530194303</c:v>
                </c:pt>
                <c:pt idx="4">
                  <c:v>14879.41120204097</c:v>
                </c:pt>
                <c:pt idx="5">
                  <c:v>15069.271184826968</c:v>
                </c:pt>
                <c:pt idx="6">
                  <c:v>15059.682296768078</c:v>
                </c:pt>
                <c:pt idx="7">
                  <c:v>14912.013421301193</c:v>
                </c:pt>
                <c:pt idx="8">
                  <c:v>14948.451195844971</c:v>
                </c:pt>
                <c:pt idx="9">
                  <c:v>15109.5445145543</c:v>
                </c:pt>
                <c:pt idx="10">
                  <c:v>15679.947959394638</c:v>
                </c:pt>
                <c:pt idx="11">
                  <c:v>15678.03018180286</c:v>
                </c:pt>
                <c:pt idx="12">
                  <c:v>14942.697862969637</c:v>
                </c:pt>
                <c:pt idx="13">
                  <c:v>14875.575646857416</c:v>
                </c:pt>
                <c:pt idx="14">
                  <c:v>14896.67120046697</c:v>
                </c:pt>
                <c:pt idx="15">
                  <c:v>15314.746718174518</c:v>
                </c:pt>
                <c:pt idx="16">
                  <c:v>15216.940060393854</c:v>
                </c:pt>
                <c:pt idx="17">
                  <c:v>15184.337840933633</c:v>
                </c:pt>
                <c:pt idx="18">
                  <c:v>15044.340075833858</c:v>
                </c:pt>
                <c:pt idx="19">
                  <c:v>14977.217859821636</c:v>
                </c:pt>
                <c:pt idx="20">
                  <c:v>23587.536464753415</c:v>
                </c:pt>
                <c:pt idx="21">
                  <c:v>16152.286674628507</c:v>
                </c:pt>
                <c:pt idx="22">
                  <c:v>15073.106740010524</c:v>
                </c:pt>
                <c:pt idx="23">
                  <c:v>14956.122306312081</c:v>
                </c:pt>
                <c:pt idx="24">
                  <c:v>14992.560080655858</c:v>
                </c:pt>
                <c:pt idx="25">
                  <c:v>14935.026752502527</c:v>
                </c:pt>
                <c:pt idx="26">
                  <c:v>22441.437800643558</c:v>
                </c:pt>
                <c:pt idx="27">
                  <c:v>22508.560016855779</c:v>
                </c:pt>
                <c:pt idx="28">
                  <c:v>21932.604394960221</c:v>
                </c:pt>
                <c:pt idx="29">
                  <c:v>28333.956274795346</c:v>
                </c:pt>
                <c:pt idx="30">
                  <c:v>14939.82119658197</c:v>
                </c:pt>
                <c:pt idx="31">
                  <c:v>15112.421181041969</c:v>
                </c:pt>
                <c:pt idx="32">
                  <c:v>14882.287868428639</c:v>
                </c:pt>
                <c:pt idx="33">
                  <c:v>15078.860072885858</c:v>
                </c:pt>
                <c:pt idx="34">
                  <c:v>14895.712311671083</c:v>
                </c:pt>
                <c:pt idx="35">
                  <c:v>16288.448884644728</c:v>
                </c:pt>
                <c:pt idx="36">
                  <c:v>15083.654516865301</c:v>
                </c:pt>
                <c:pt idx="37">
                  <c:v>15144.0645113063</c:v>
                </c:pt>
                <c:pt idx="38">
                  <c:v>15089.407849540636</c:v>
                </c:pt>
                <c:pt idx="39">
                  <c:v>15034.751187974969</c:v>
                </c:pt>
                <c:pt idx="40">
                  <c:v>8295.9545929953765</c:v>
                </c:pt>
                <c:pt idx="41">
                  <c:v>8258.5579298557113</c:v>
                </c:pt>
                <c:pt idx="42">
                  <c:v>8258.5579298557113</c:v>
                </c:pt>
                <c:pt idx="43">
                  <c:v>8266.2290402228209</c:v>
                </c:pt>
                <c:pt idx="44">
                  <c:v>8421.5690262568187</c:v>
                </c:pt>
                <c:pt idx="45">
                  <c:v>8258.5579298557113</c:v>
                </c:pt>
                <c:pt idx="46">
                  <c:v>8460.8834670882625</c:v>
                </c:pt>
                <c:pt idx="47">
                  <c:v>8261.4345962433781</c:v>
                </c:pt>
                <c:pt idx="48">
                  <c:v>8258.5579298557113</c:v>
                </c:pt>
                <c:pt idx="49">
                  <c:v>8272.9412618940441</c:v>
                </c:pt>
                <c:pt idx="50">
                  <c:v>8258.5579298557113</c:v>
                </c:pt>
                <c:pt idx="51">
                  <c:v>8372.6656972664859</c:v>
                </c:pt>
                <c:pt idx="52">
                  <c:v>8370.7479195747073</c:v>
                </c:pt>
                <c:pt idx="53">
                  <c:v>8482.9379094937067</c:v>
                </c:pt>
                <c:pt idx="54">
                  <c:v>8302.6668146665997</c:v>
                </c:pt>
                <c:pt idx="55">
                  <c:v>8350.6112547610428</c:v>
                </c:pt>
                <c:pt idx="56">
                  <c:v>12601.393772439251</c:v>
                </c:pt>
                <c:pt idx="57">
                  <c:v>12397.200590219936</c:v>
                </c:pt>
                <c:pt idx="58">
                  <c:v>12459.528362352714</c:v>
                </c:pt>
                <c:pt idx="59">
                  <c:v>12427.885031788381</c:v>
                </c:pt>
                <c:pt idx="60">
                  <c:v>12381.858369385714</c:v>
                </c:pt>
                <c:pt idx="61">
                  <c:v>12421.172810217158</c:v>
                </c:pt>
                <c:pt idx="62">
                  <c:v>12582.266128926487</c:v>
                </c:pt>
                <c:pt idx="63">
                  <c:v>17309.227026522534</c:v>
                </c:pt>
                <c:pt idx="64">
                  <c:v>15262.301910130038</c:v>
                </c:pt>
                <c:pt idx="65">
                  <c:v>14604.490204248876</c:v>
                </c:pt>
                <c:pt idx="66">
                  <c:v>14601.613537861209</c:v>
                </c:pt>
                <c:pt idx="67">
                  <c:v>14713.803527680204</c:v>
                </c:pt>
                <c:pt idx="68">
                  <c:v>15268.041255103974</c:v>
                </c:pt>
                <c:pt idx="69">
                  <c:v>14738.734636473317</c:v>
                </c:pt>
                <c:pt idx="70">
                  <c:v>14686.954641195316</c:v>
                </c:pt>
                <c:pt idx="71">
                  <c:v>12275.752163475094</c:v>
                </c:pt>
                <c:pt idx="72">
                  <c:v>14064.406159140475</c:v>
                </c:pt>
                <c:pt idx="73">
                  <c:v>8232.7180646717243</c:v>
                </c:pt>
                <c:pt idx="74">
                  <c:v>8584.5801224579263</c:v>
                </c:pt>
                <c:pt idx="75">
                  <c:v>8347.734588373376</c:v>
                </c:pt>
                <c:pt idx="76">
                  <c:v>8265.0304292029614</c:v>
                </c:pt>
                <c:pt idx="77">
                  <c:v>12144.765869576466</c:v>
                </c:pt>
                <c:pt idx="78">
                  <c:v>12130.382537538135</c:v>
                </c:pt>
                <c:pt idx="79">
                  <c:v>8477.1845766183742</c:v>
                </c:pt>
                <c:pt idx="80">
                  <c:v>10575.430335142926</c:v>
                </c:pt>
                <c:pt idx="81">
                  <c:v>9584.1145424113602</c:v>
                </c:pt>
                <c:pt idx="82">
                  <c:v>8266.2290402228227</c:v>
                </c:pt>
                <c:pt idx="83">
                  <c:v>8528.0056831004822</c:v>
                </c:pt>
                <c:pt idx="84">
                  <c:v>8356.3645876363753</c:v>
                </c:pt>
                <c:pt idx="85">
                  <c:v>8745.673441067258</c:v>
                </c:pt>
                <c:pt idx="86">
                  <c:v>8463.7601334759293</c:v>
                </c:pt>
                <c:pt idx="87">
                  <c:v>8264.0715405070732</c:v>
                </c:pt>
                <c:pt idx="88">
                  <c:v>8364.9945867993756</c:v>
                </c:pt>
                <c:pt idx="89">
                  <c:v>8266.2290402228227</c:v>
                </c:pt>
                <c:pt idx="90">
                  <c:v>8334.3101452309311</c:v>
                </c:pt>
                <c:pt idx="91">
                  <c:v>8376.2615302260692</c:v>
                </c:pt>
                <c:pt idx="92">
                  <c:v>8276.7768169775991</c:v>
                </c:pt>
                <c:pt idx="93">
                  <c:v>8287.324593932377</c:v>
                </c:pt>
                <c:pt idx="94">
                  <c:v>12199.853929785273</c:v>
                </c:pt>
                <c:pt idx="95">
                  <c:v>14092.066158706475</c:v>
                </c:pt>
                <c:pt idx="96">
                  <c:v>12399.118367811714</c:v>
                </c:pt>
                <c:pt idx="97">
                  <c:v>12381.858369385714</c:v>
                </c:pt>
                <c:pt idx="98">
                  <c:v>12435.556142255491</c:v>
                </c:pt>
                <c:pt idx="99">
                  <c:v>13225.694502869321</c:v>
                </c:pt>
                <c:pt idx="100">
                  <c:v>12490.212804021157</c:v>
                </c:pt>
                <c:pt idx="101">
                  <c:v>15363.599684159817</c:v>
                </c:pt>
                <c:pt idx="102">
                  <c:v>15455.997448099592</c:v>
                </c:pt>
                <c:pt idx="103">
                  <c:v>15304.493017349148</c:v>
                </c:pt>
                <c:pt idx="104">
                  <c:v>14604.490204248876</c:v>
                </c:pt>
                <c:pt idx="105">
                  <c:v>14984.210169820868</c:v>
                </c:pt>
                <c:pt idx="106">
                  <c:v>14648.599089159761</c:v>
                </c:pt>
                <c:pt idx="107">
                  <c:v>14960.237949723647</c:v>
                </c:pt>
                <c:pt idx="108">
                  <c:v>14837.50018314987</c:v>
                </c:pt>
                <c:pt idx="109">
                  <c:v>14681.201308319985</c:v>
                </c:pt>
                <c:pt idx="110">
                  <c:v>14604.490204248876</c:v>
                </c:pt>
                <c:pt idx="111">
                  <c:v>14862.431291942981</c:v>
                </c:pt>
                <c:pt idx="112">
                  <c:v>14772.295744529427</c:v>
                </c:pt>
                <c:pt idx="113">
                  <c:v>14799.144631114315</c:v>
                </c:pt>
                <c:pt idx="114">
                  <c:v>14601.613537861209</c:v>
                </c:pt>
                <c:pt idx="115">
                  <c:v>596.211293321123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B6-4818-925F-A1C544F08546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ignup</c:v>
                </c:pt>
              </c:strCache>
            </c:strRef>
          </c:tx>
          <c:spPr>
            <a:solidFill>
              <a:schemeClr val="accent4"/>
            </a:solidFill>
            <a:ln w="28575">
              <a:solidFill>
                <a:schemeClr val="accent4"/>
              </a:solidFill>
            </a:ln>
            <a:effectLst/>
          </c:spPr>
          <c:invertIfNegative val="0"/>
          <c:cat>
            <c:numRef>
              <c:f>Sheet1!$A$2:$A$175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E$2:$E$175</c:f>
              <c:numCache>
                <c:formatCode>#,##0</c:formatCode>
                <c:ptCount val="116"/>
                <c:pt idx="0">
                  <c:v>0</c:v>
                </c:pt>
                <c:pt idx="1">
                  <c:v>0</c:v>
                </c:pt>
                <c:pt idx="2">
                  <c:v>17.909278</c:v>
                </c:pt>
                <c:pt idx="3">
                  <c:v>6308.8607324999994</c:v>
                </c:pt>
                <c:pt idx="4">
                  <c:v>10077.784587300001</c:v>
                </c:pt>
                <c:pt idx="5">
                  <c:v>8240.888340200001</c:v>
                </c:pt>
                <c:pt idx="6">
                  <c:v>9227.9874659000016</c:v>
                </c:pt>
                <c:pt idx="7">
                  <c:v>10256.5840498</c:v>
                </c:pt>
                <c:pt idx="8">
                  <c:v>16316.571527800001</c:v>
                </c:pt>
                <c:pt idx="9">
                  <c:v>16296.650470799999</c:v>
                </c:pt>
                <c:pt idx="10">
                  <c:v>14600.186127299999</c:v>
                </c:pt>
                <c:pt idx="11">
                  <c:v>20551.2664936</c:v>
                </c:pt>
                <c:pt idx="12">
                  <c:v>21799.693246800001</c:v>
                </c:pt>
                <c:pt idx="13">
                  <c:v>17517.1885181</c:v>
                </c:pt>
                <c:pt idx="14">
                  <c:v>14846.375325800002</c:v>
                </c:pt>
                <c:pt idx="15">
                  <c:v>15017.9465079</c:v>
                </c:pt>
                <c:pt idx="16">
                  <c:v>13348.278655399999</c:v>
                </c:pt>
                <c:pt idx="17">
                  <c:v>8698.8613656000016</c:v>
                </c:pt>
                <c:pt idx="18">
                  <c:v>6870.3090241</c:v>
                </c:pt>
                <c:pt idx="19">
                  <c:v>6568.379943599999</c:v>
                </c:pt>
                <c:pt idx="20">
                  <c:v>7741.9227211999987</c:v>
                </c:pt>
                <c:pt idx="21">
                  <c:v>6953.5518568000007</c:v>
                </c:pt>
                <c:pt idx="22">
                  <c:v>5810.7977548999997</c:v>
                </c:pt>
                <c:pt idx="23">
                  <c:v>6721.2792756000008</c:v>
                </c:pt>
                <c:pt idx="24">
                  <c:v>14972.700538399999</c:v>
                </c:pt>
                <c:pt idx="25">
                  <c:v>8827.7871488000001</c:v>
                </c:pt>
                <c:pt idx="26">
                  <c:v>12334.554620399998</c:v>
                </c:pt>
                <c:pt idx="27">
                  <c:v>13844.335748899999</c:v>
                </c:pt>
                <c:pt idx="28">
                  <c:v>6976.5216697000005</c:v>
                </c:pt>
                <c:pt idx="29">
                  <c:v>5898.9235248000005</c:v>
                </c:pt>
                <c:pt idx="30">
                  <c:v>1780.9228077999999</c:v>
                </c:pt>
                <c:pt idx="31">
                  <c:v>2872.2781249</c:v>
                </c:pt>
                <c:pt idx="32">
                  <c:v>5689.9932675</c:v>
                </c:pt>
                <c:pt idx="33">
                  <c:v>6384.1180991000001</c:v>
                </c:pt>
                <c:pt idx="34">
                  <c:v>6250.3119802000001</c:v>
                </c:pt>
                <c:pt idx="35">
                  <c:v>8161.5109575000006</c:v>
                </c:pt>
                <c:pt idx="36">
                  <c:v>8983.9037752000004</c:v>
                </c:pt>
                <c:pt idx="37">
                  <c:v>9470.2951055000012</c:v>
                </c:pt>
                <c:pt idx="38">
                  <c:v>9466.7531763000006</c:v>
                </c:pt>
                <c:pt idx="39">
                  <c:v>8032.0634702000007</c:v>
                </c:pt>
                <c:pt idx="40">
                  <c:v>4691.7314523999994</c:v>
                </c:pt>
                <c:pt idx="41">
                  <c:v>1427.6457216999997</c:v>
                </c:pt>
                <c:pt idx="42">
                  <c:v>707.79517940000005</c:v>
                </c:pt>
                <c:pt idx="43">
                  <c:v>457.4111216</c:v>
                </c:pt>
                <c:pt idx="44">
                  <c:v>722.28566939999996</c:v>
                </c:pt>
                <c:pt idx="45">
                  <c:v>161.26714180000002</c:v>
                </c:pt>
                <c:pt idx="46">
                  <c:v>4.6438677000000004</c:v>
                </c:pt>
                <c:pt idx="47">
                  <c:v>322.84645339999997</c:v>
                </c:pt>
                <c:pt idx="48">
                  <c:v>410.30232580000001</c:v>
                </c:pt>
                <c:pt idx="49">
                  <c:v>163.60457719999999</c:v>
                </c:pt>
                <c:pt idx="50">
                  <c:v>5.2585457000000009</c:v>
                </c:pt>
                <c:pt idx="51">
                  <c:v>587.09446019999996</c:v>
                </c:pt>
                <c:pt idx="52">
                  <c:v>989.63303819999999</c:v>
                </c:pt>
                <c:pt idx="53">
                  <c:v>1497.3482997000001</c:v>
                </c:pt>
                <c:pt idx="54">
                  <c:v>1974.3926919</c:v>
                </c:pt>
                <c:pt idx="55">
                  <c:v>1888.2853602</c:v>
                </c:pt>
                <c:pt idx="56">
                  <c:v>2008.7687973999996</c:v>
                </c:pt>
                <c:pt idx="57">
                  <c:v>2771.7466907000003</c:v>
                </c:pt>
                <c:pt idx="58">
                  <c:v>5054.3052818999995</c:v>
                </c:pt>
                <c:pt idx="59">
                  <c:v>6560.0199292999996</c:v>
                </c:pt>
                <c:pt idx="60">
                  <c:v>7050.6604855999994</c:v>
                </c:pt>
                <c:pt idx="61">
                  <c:v>7393.2894442000006</c:v>
                </c:pt>
                <c:pt idx="62">
                  <c:v>7546.1923236999992</c:v>
                </c:pt>
                <c:pt idx="63">
                  <c:v>8829.1478619000009</c:v>
                </c:pt>
                <c:pt idx="64">
                  <c:v>9155.4280565999998</c:v>
                </c:pt>
                <c:pt idx="65">
                  <c:v>8907.5005572999999</c:v>
                </c:pt>
                <c:pt idx="66">
                  <c:v>2327.7707994000002</c:v>
                </c:pt>
                <c:pt idx="67">
                  <c:v>11337.3507902</c:v>
                </c:pt>
                <c:pt idx="68">
                  <c:v>11004.0812983</c:v>
                </c:pt>
                <c:pt idx="69">
                  <c:v>10462.982052100002</c:v>
                </c:pt>
                <c:pt idx="70">
                  <c:v>9418.6614879999997</c:v>
                </c:pt>
                <c:pt idx="71">
                  <c:v>3333.8248901000002</c:v>
                </c:pt>
                <c:pt idx="72">
                  <c:v>118.16149150000001</c:v>
                </c:pt>
                <c:pt idx="73">
                  <c:v>3.3077656000000002</c:v>
                </c:pt>
                <c:pt idx="74">
                  <c:v>9.2596199999999976E-2</c:v>
                </c:pt>
                <c:pt idx="75">
                  <c:v>2.5921000000000004E-3</c:v>
                </c:pt>
                <c:pt idx="76">
                  <c:v>7.2499999999999987E-5</c:v>
                </c:pt>
                <c:pt idx="77">
                  <c:v>1378.2533209000001</c:v>
                </c:pt>
                <c:pt idx="78">
                  <c:v>3084.4606405999998</c:v>
                </c:pt>
                <c:pt idx="79">
                  <c:v>3085.8676743000001</c:v>
                </c:pt>
                <c:pt idx="80">
                  <c:v>2900.4318416999999</c:v>
                </c:pt>
                <c:pt idx="81">
                  <c:v>2529.8787892</c:v>
                </c:pt>
                <c:pt idx="82">
                  <c:v>1875.3403636999999</c:v>
                </c:pt>
                <c:pt idx="83">
                  <c:v>1591.6718851000001</c:v>
                </c:pt>
                <c:pt idx="84">
                  <c:v>513.42456789999994</c:v>
                </c:pt>
                <c:pt idx="85">
                  <c:v>14.3726018</c:v>
                </c:pt>
                <c:pt idx="86">
                  <c:v>1279.9373310999999</c:v>
                </c:pt>
                <c:pt idx="87">
                  <c:v>2216.3004046999999</c:v>
                </c:pt>
                <c:pt idx="88">
                  <c:v>2110.9460853</c:v>
                </c:pt>
                <c:pt idx="89">
                  <c:v>720.84368600000005</c:v>
                </c:pt>
                <c:pt idx="90">
                  <c:v>1193.8262104</c:v>
                </c:pt>
                <c:pt idx="91">
                  <c:v>1595.9368191000001</c:v>
                </c:pt>
                <c:pt idx="92">
                  <c:v>2079.0632669000001</c:v>
                </c:pt>
                <c:pt idx="93">
                  <c:v>2349.3363198999996</c:v>
                </c:pt>
                <c:pt idx="94">
                  <c:v>3348.2646531999999</c:v>
                </c:pt>
                <c:pt idx="95">
                  <c:v>3075.7706346</c:v>
                </c:pt>
                <c:pt idx="96">
                  <c:v>3665.0426858999999</c:v>
                </c:pt>
                <c:pt idx="97">
                  <c:v>5650.7543981000008</c:v>
                </c:pt>
                <c:pt idx="98">
                  <c:v>4475.5112250000002</c:v>
                </c:pt>
                <c:pt idx="99">
                  <c:v>7099.8479385000001</c:v>
                </c:pt>
                <c:pt idx="100">
                  <c:v>8702.8466785000001</c:v>
                </c:pt>
                <c:pt idx="101">
                  <c:v>10861.9345923</c:v>
                </c:pt>
                <c:pt idx="102">
                  <c:v>12951.244329499999</c:v>
                </c:pt>
                <c:pt idx="103">
                  <c:v>13557.849708100002</c:v>
                </c:pt>
                <c:pt idx="104">
                  <c:v>11448.724509400001</c:v>
                </c:pt>
                <c:pt idx="105">
                  <c:v>12956.790460300001</c:v>
                </c:pt>
                <c:pt idx="106">
                  <c:v>12905.7732034</c:v>
                </c:pt>
                <c:pt idx="107">
                  <c:v>14275.261700799998</c:v>
                </c:pt>
                <c:pt idx="108">
                  <c:v>15294.1752777</c:v>
                </c:pt>
                <c:pt idx="109">
                  <c:v>15648.096899099999</c:v>
                </c:pt>
                <c:pt idx="110">
                  <c:v>16280.7526192</c:v>
                </c:pt>
                <c:pt idx="111">
                  <c:v>15809.414755400001</c:v>
                </c:pt>
                <c:pt idx="112">
                  <c:v>15450.576461500001</c:v>
                </c:pt>
                <c:pt idx="113">
                  <c:v>15617.3864558</c:v>
                </c:pt>
                <c:pt idx="114">
                  <c:v>14935.0054679</c:v>
                </c:pt>
                <c:pt idx="115">
                  <c:v>2169.6613252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1CB-4DAD-968A-131BF851268F}"/>
            </c:ext>
          </c:extLst>
        </c:ser>
        <c:ser>
          <c:idx val="1"/>
          <c:order val="3"/>
          <c:tx>
            <c:strRef>
              <c:f>Sheet1!$C$1</c:f>
              <c:strCache>
                <c:ptCount val="1"/>
                <c:pt idx="0">
                  <c:v>Covid</c:v>
                </c:pt>
              </c:strCache>
            </c:strRef>
          </c:tx>
          <c:spPr>
            <a:solidFill>
              <a:srgbClr val="FF0000"/>
            </a:solidFill>
            <a:ln w="28575">
              <a:solidFill>
                <a:srgbClr val="FF0000"/>
              </a:solidFill>
            </a:ln>
            <a:effectLst/>
          </c:spPr>
          <c:invertIfNegative val="0"/>
          <c:val>
            <c:numRef>
              <c:f>Sheet1!$C$2:$C$117</c:f>
              <c:numCache>
                <c:formatCode>#,##0</c:formatCode>
                <c:ptCount val="1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-36.859702300000002</c:v>
                </c:pt>
                <c:pt idx="36">
                  <c:v>-330.11992300000003</c:v>
                </c:pt>
                <c:pt idx="37">
                  <c:v>-118.15535010000002</c:v>
                </c:pt>
                <c:pt idx="38">
                  <c:v>-122.9649869</c:v>
                </c:pt>
                <c:pt idx="39">
                  <c:v>-457.68173590000004</c:v>
                </c:pt>
                <c:pt idx="40">
                  <c:v>-2026.943154</c:v>
                </c:pt>
                <c:pt idx="41">
                  <c:v>-4339.5277265000004</c:v>
                </c:pt>
                <c:pt idx="42">
                  <c:v>-5416.0353544999998</c:v>
                </c:pt>
                <c:pt idx="43">
                  <c:v>-5388.1139159999993</c:v>
                </c:pt>
                <c:pt idx="44">
                  <c:v>-5449.362314</c:v>
                </c:pt>
                <c:pt idx="45">
                  <c:v>-5252.890734300001</c:v>
                </c:pt>
                <c:pt idx="46">
                  <c:v>-5177.8093071000003</c:v>
                </c:pt>
                <c:pt idx="47">
                  <c:v>-5059.5688272999996</c:v>
                </c:pt>
                <c:pt idx="48">
                  <c:v>-4957.8002930000002</c:v>
                </c:pt>
                <c:pt idx="49">
                  <c:v>-4670.1584067000003</c:v>
                </c:pt>
                <c:pt idx="50">
                  <c:v>-4535.9141814000004</c:v>
                </c:pt>
                <c:pt idx="51">
                  <c:v>-4332.2919861</c:v>
                </c:pt>
                <c:pt idx="52">
                  <c:v>-4357.1488757000006</c:v>
                </c:pt>
                <c:pt idx="53">
                  <c:v>-4113.6024321999994</c:v>
                </c:pt>
                <c:pt idx="54">
                  <c:v>-3918.7056886999994</c:v>
                </c:pt>
                <c:pt idx="55">
                  <c:v>-3883.3782614999996</c:v>
                </c:pt>
                <c:pt idx="56">
                  <c:v>-3695.7172563999998</c:v>
                </c:pt>
                <c:pt idx="57">
                  <c:v>-3587.8196281999999</c:v>
                </c:pt>
                <c:pt idx="58">
                  <c:v>-3613.9108472999997</c:v>
                </c:pt>
                <c:pt idx="59">
                  <c:v>-3565.3888371999997</c:v>
                </c:pt>
                <c:pt idx="60">
                  <c:v>-3477.4533330999998</c:v>
                </c:pt>
                <c:pt idx="61">
                  <c:v>-3530.6147286</c:v>
                </c:pt>
                <c:pt idx="62">
                  <c:v>-3537.5099619000002</c:v>
                </c:pt>
                <c:pt idx="63">
                  <c:v>-3402.5421572999994</c:v>
                </c:pt>
                <c:pt idx="64">
                  <c:v>-3345.5926396999998</c:v>
                </c:pt>
                <c:pt idx="65">
                  <c:v>-3020.3249138000001</c:v>
                </c:pt>
                <c:pt idx="66">
                  <c:v>-2868.1190273999996</c:v>
                </c:pt>
                <c:pt idx="67">
                  <c:v>-2948.5634157999998</c:v>
                </c:pt>
                <c:pt idx="68">
                  <c:v>-3082.2543254999996</c:v>
                </c:pt>
                <c:pt idx="69">
                  <c:v>-3081.1051189000004</c:v>
                </c:pt>
                <c:pt idx="70">
                  <c:v>-3043.3941533999996</c:v>
                </c:pt>
                <c:pt idx="71">
                  <c:v>-3237.2268186000006</c:v>
                </c:pt>
                <c:pt idx="72">
                  <c:v>-3411.3952985000001</c:v>
                </c:pt>
                <c:pt idx="73">
                  <c:v>-3282.0883968000003</c:v>
                </c:pt>
                <c:pt idx="74">
                  <c:v>-3872.7374691999999</c:v>
                </c:pt>
                <c:pt idx="75">
                  <c:v>-3930.1551808000004</c:v>
                </c:pt>
                <c:pt idx="76">
                  <c:v>-3850.9451257000005</c:v>
                </c:pt>
                <c:pt idx="77">
                  <c:v>-3655.4099359999996</c:v>
                </c:pt>
                <c:pt idx="78">
                  <c:v>-3218.8395288000002</c:v>
                </c:pt>
                <c:pt idx="79">
                  <c:v>-3345.6777675999997</c:v>
                </c:pt>
                <c:pt idx="80">
                  <c:v>-4407.3308518999993</c:v>
                </c:pt>
                <c:pt idx="81">
                  <c:v>-5255.8275919999996</c:v>
                </c:pt>
                <c:pt idx="82">
                  <c:v>-4949.9261082000003</c:v>
                </c:pt>
                <c:pt idx="83">
                  <c:v>-4870.7160519999998</c:v>
                </c:pt>
                <c:pt idx="84">
                  <c:v>-4842.3689838999999</c:v>
                </c:pt>
                <c:pt idx="85">
                  <c:v>-4786.9517404999997</c:v>
                </c:pt>
                <c:pt idx="86">
                  <c:v>-4710.2103512000003</c:v>
                </c:pt>
                <c:pt idx="87">
                  <c:v>-4771.2459312999999</c:v>
                </c:pt>
                <c:pt idx="88">
                  <c:v>-4599.0779185000001</c:v>
                </c:pt>
                <c:pt idx="89">
                  <c:v>-4394.8598431999999</c:v>
                </c:pt>
                <c:pt idx="90">
                  <c:v>-4339.9107916000003</c:v>
                </c:pt>
                <c:pt idx="91">
                  <c:v>-4178.5963886999998</c:v>
                </c:pt>
                <c:pt idx="92">
                  <c:v>-3996.2132165000003</c:v>
                </c:pt>
                <c:pt idx="93">
                  <c:v>-3911.2145703000001</c:v>
                </c:pt>
                <c:pt idx="94">
                  <c:v>-3844.1350198</c:v>
                </c:pt>
                <c:pt idx="95">
                  <c:v>-4077.1257980999999</c:v>
                </c:pt>
                <c:pt idx="96">
                  <c:v>-3610.207852</c:v>
                </c:pt>
                <c:pt idx="97">
                  <c:v>-3129.7548201000004</c:v>
                </c:pt>
                <c:pt idx="98">
                  <c:v>-3122.8170231999998</c:v>
                </c:pt>
                <c:pt idx="99">
                  <c:v>-3309.371384</c:v>
                </c:pt>
                <c:pt idx="100">
                  <c:v>-3129.0312449999997</c:v>
                </c:pt>
                <c:pt idx="101">
                  <c:v>-3044.8838649999998</c:v>
                </c:pt>
                <c:pt idx="102">
                  <c:v>-2892.5077249999999</c:v>
                </c:pt>
                <c:pt idx="103">
                  <c:v>-2883.6971473000003</c:v>
                </c:pt>
                <c:pt idx="104">
                  <c:v>-2785.2911053999997</c:v>
                </c:pt>
                <c:pt idx="105">
                  <c:v>-2734.7260620000002</c:v>
                </c:pt>
                <c:pt idx="106">
                  <c:v>-2895.6573976</c:v>
                </c:pt>
                <c:pt idx="107">
                  <c:v>-2800.0605247000003</c:v>
                </c:pt>
                <c:pt idx="108">
                  <c:v>-2736.6414064000001</c:v>
                </c:pt>
                <c:pt idx="109">
                  <c:v>-2646.5351796999998</c:v>
                </c:pt>
                <c:pt idx="110">
                  <c:v>-2734.4281204000004</c:v>
                </c:pt>
                <c:pt idx="111">
                  <c:v>-2889.0175454</c:v>
                </c:pt>
                <c:pt idx="112">
                  <c:v>-2882.6330702999999</c:v>
                </c:pt>
                <c:pt idx="113">
                  <c:v>-2851.2640154999999</c:v>
                </c:pt>
                <c:pt idx="114">
                  <c:v>-2757.2419798000001</c:v>
                </c:pt>
                <c:pt idx="115">
                  <c:v>-400.4768412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F6-4EEF-B0A5-986C6925D57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Referrals</c:v>
                </c:pt>
              </c:strCache>
            </c:strRef>
          </c:tx>
          <c:spPr>
            <a:solidFill>
              <a:schemeClr val="accent1"/>
            </a:solidFill>
            <a:ln w="28575">
              <a:solidFill>
                <a:schemeClr val="accent1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F$2:$F$117</c:f>
              <c:numCache>
                <c:formatCode>#,##0</c:formatCode>
                <c:ptCount val="1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1.811760599999999</c:v>
                </c:pt>
                <c:pt idx="9">
                  <c:v>45.934541600000003</c:v>
                </c:pt>
                <c:pt idx="10">
                  <c:v>79.338529300000005</c:v>
                </c:pt>
                <c:pt idx="11">
                  <c:v>378.82504599999999</c:v>
                </c:pt>
                <c:pt idx="12">
                  <c:v>1176.2124690000001</c:v>
                </c:pt>
                <c:pt idx="13">
                  <c:v>1942.4570328</c:v>
                </c:pt>
                <c:pt idx="14">
                  <c:v>2509.5844578000001</c:v>
                </c:pt>
                <c:pt idx="15">
                  <c:v>2751.0578476999999</c:v>
                </c:pt>
                <c:pt idx="16">
                  <c:v>2191.8359952999999</c:v>
                </c:pt>
                <c:pt idx="17">
                  <c:v>1334.1334583000003</c:v>
                </c:pt>
                <c:pt idx="18">
                  <c:v>616.0999667000001</c:v>
                </c:pt>
                <c:pt idx="19">
                  <c:v>121.39110239999999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8.2473789999999987</c:v>
                </c:pt>
                <c:pt idx="26">
                  <c:v>32.478585299999999</c:v>
                </c:pt>
                <c:pt idx="27">
                  <c:v>34.3185249</c:v>
                </c:pt>
                <c:pt idx="28">
                  <c:v>26.075029699999998</c:v>
                </c:pt>
                <c:pt idx="29">
                  <c:v>14.733438100000001</c:v>
                </c:pt>
                <c:pt idx="30">
                  <c:v>0.94709670000000001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197.58124470000001</c:v>
                </c:pt>
                <c:pt idx="37">
                  <c:v>975.66593440000008</c:v>
                </c:pt>
                <c:pt idx="38">
                  <c:v>1797.8297856000002</c:v>
                </c:pt>
                <c:pt idx="39">
                  <c:v>2422.5054352999996</c:v>
                </c:pt>
                <c:pt idx="40">
                  <c:v>2654.3199404000002</c:v>
                </c:pt>
                <c:pt idx="41">
                  <c:v>1982.7190078000001</c:v>
                </c:pt>
                <c:pt idx="42">
                  <c:v>1147.096215</c:v>
                </c:pt>
                <c:pt idx="43">
                  <c:v>481.90768850000001</c:v>
                </c:pt>
                <c:pt idx="44">
                  <c:v>64.307292999999987</c:v>
                </c:pt>
                <c:pt idx="45">
                  <c:v>1.9373995000000002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44.354363599999999</c:v>
                </c:pt>
                <c:pt idx="56">
                  <c:v>81.250700399999999</c:v>
                </c:pt>
                <c:pt idx="57">
                  <c:v>287.74910460000001</c:v>
                </c:pt>
                <c:pt idx="58">
                  <c:v>763.45853480000005</c:v>
                </c:pt>
                <c:pt idx="59">
                  <c:v>787.02853810000011</c:v>
                </c:pt>
                <c:pt idx="60">
                  <c:v>715.90298409999991</c:v>
                </c:pt>
                <c:pt idx="61">
                  <c:v>444.01968160000001</c:v>
                </c:pt>
                <c:pt idx="62">
                  <c:v>208.88021229999998</c:v>
                </c:pt>
                <c:pt idx="63">
                  <c:v>222.11572689999997</c:v>
                </c:pt>
                <c:pt idx="64">
                  <c:v>148.71192769999999</c:v>
                </c:pt>
                <c:pt idx="65">
                  <c:v>138.67766510000001</c:v>
                </c:pt>
                <c:pt idx="66">
                  <c:v>294.09833889999999</c:v>
                </c:pt>
                <c:pt idx="67">
                  <c:v>444.53666680000003</c:v>
                </c:pt>
                <c:pt idx="68">
                  <c:v>383.37593990000005</c:v>
                </c:pt>
                <c:pt idx="69">
                  <c:v>259.63789129999998</c:v>
                </c:pt>
                <c:pt idx="70">
                  <c:v>90.418866899999998</c:v>
                </c:pt>
                <c:pt idx="71">
                  <c:v>2.7036E-3</c:v>
                </c:pt>
                <c:pt idx="72">
                  <c:v>2.2840099999999999E-2</c:v>
                </c:pt>
                <c:pt idx="73">
                  <c:v>2.7552500000000004E-2</c:v>
                </c:pt>
                <c:pt idx="74">
                  <c:v>2.17322E-2</c:v>
                </c:pt>
                <c:pt idx="75">
                  <c:v>1.3996900000000001E-2</c:v>
                </c:pt>
                <c:pt idx="76">
                  <c:v>1.7112E-3</c:v>
                </c:pt>
                <c:pt idx="77">
                  <c:v>279.34171570000001</c:v>
                </c:pt>
                <c:pt idx="78">
                  <c:v>665.85048259999996</c:v>
                </c:pt>
                <c:pt idx="79">
                  <c:v>778.65343699999994</c:v>
                </c:pt>
                <c:pt idx="80">
                  <c:v>857.99149329999989</c:v>
                </c:pt>
                <c:pt idx="81">
                  <c:v>560.32506609999996</c:v>
                </c:pt>
                <c:pt idx="82">
                  <c:v>276.38579070000003</c:v>
                </c:pt>
                <c:pt idx="83">
                  <c:v>112.8354966</c:v>
                </c:pt>
                <c:pt idx="84">
                  <c:v>49.346917899999994</c:v>
                </c:pt>
                <c:pt idx="85">
                  <c:v>90.396328999999994</c:v>
                </c:pt>
                <c:pt idx="86">
                  <c:v>162.20191649999998</c:v>
                </c:pt>
                <c:pt idx="87">
                  <c:v>209.74836860000002</c:v>
                </c:pt>
                <c:pt idx="88">
                  <c:v>150.21214750000001</c:v>
                </c:pt>
                <c:pt idx="89">
                  <c:v>93.920157000000017</c:v>
                </c:pt>
                <c:pt idx="90">
                  <c:v>50.804237499999999</c:v>
                </c:pt>
                <c:pt idx="91">
                  <c:v>184.57994170000001</c:v>
                </c:pt>
                <c:pt idx="92">
                  <c:v>206.1669215</c:v>
                </c:pt>
                <c:pt idx="93">
                  <c:v>159.24207340000001</c:v>
                </c:pt>
                <c:pt idx="94">
                  <c:v>107.3144099</c:v>
                </c:pt>
                <c:pt idx="95">
                  <c:v>713.41334499999994</c:v>
                </c:pt>
                <c:pt idx="96">
                  <c:v>3505.9309355</c:v>
                </c:pt>
                <c:pt idx="97">
                  <c:v>3586.5809644000001</c:v>
                </c:pt>
                <c:pt idx="98">
                  <c:v>2697.5348712</c:v>
                </c:pt>
                <c:pt idx="99">
                  <c:v>1798.5235244999999</c:v>
                </c:pt>
                <c:pt idx="100">
                  <c:v>1132.6100386999999</c:v>
                </c:pt>
                <c:pt idx="101">
                  <c:v>1638.5794629</c:v>
                </c:pt>
                <c:pt idx="102">
                  <c:v>2197.3242313999999</c:v>
                </c:pt>
                <c:pt idx="103">
                  <c:v>2977.9564455999998</c:v>
                </c:pt>
                <c:pt idx="104">
                  <c:v>3324.7695357000002</c:v>
                </c:pt>
                <c:pt idx="105">
                  <c:v>3401.2521489999999</c:v>
                </c:pt>
                <c:pt idx="106">
                  <c:v>2558.1455900000001</c:v>
                </c:pt>
                <c:pt idx="107">
                  <c:v>1503.6433783999998</c:v>
                </c:pt>
                <c:pt idx="108">
                  <c:v>0</c:v>
                </c:pt>
                <c:pt idx="109">
                  <c:v>2427.6842600999998</c:v>
                </c:pt>
                <c:pt idx="110">
                  <c:v>3547.5383459000004</c:v>
                </c:pt>
                <c:pt idx="111">
                  <c:v>2924.6512464999996</c:v>
                </c:pt>
                <c:pt idx="112">
                  <c:v>2029.8654701</c:v>
                </c:pt>
                <c:pt idx="113">
                  <c:v>434.83070889999999</c:v>
                </c:pt>
                <c:pt idx="114">
                  <c:v>0</c:v>
                </c:pt>
                <c:pt idx="1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80-4D44-B5FB-C7344E7BB00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Other Non-Media</c:v>
                </c:pt>
              </c:strCache>
            </c:strRef>
          </c:tx>
          <c:spPr>
            <a:solidFill>
              <a:schemeClr val="accent6"/>
            </a:solidFill>
            <a:ln w="28575">
              <a:solidFill>
                <a:schemeClr val="accent6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G$2:$G$117</c:f>
              <c:numCache>
                <c:formatCode>#,##0</c:formatCode>
                <c:ptCount val="116"/>
                <c:pt idx="0">
                  <c:v>87.853560000000016</c:v>
                </c:pt>
                <c:pt idx="1">
                  <c:v>182.75167070000001</c:v>
                </c:pt>
                <c:pt idx="2">
                  <c:v>8.7800685000000005</c:v>
                </c:pt>
                <c:pt idx="3">
                  <c:v>315.61709289999999</c:v>
                </c:pt>
                <c:pt idx="4">
                  <c:v>176.79303529999999</c:v>
                </c:pt>
                <c:pt idx="5">
                  <c:v>514.97472730000004</c:v>
                </c:pt>
                <c:pt idx="6">
                  <c:v>635.88387830000011</c:v>
                </c:pt>
                <c:pt idx="7">
                  <c:v>635.98409060000006</c:v>
                </c:pt>
                <c:pt idx="8">
                  <c:v>636.54412550000006</c:v>
                </c:pt>
                <c:pt idx="9">
                  <c:v>638.32763850000003</c:v>
                </c:pt>
                <c:pt idx="10">
                  <c:v>638.82956380000007</c:v>
                </c:pt>
                <c:pt idx="11">
                  <c:v>1216.2791233</c:v>
                </c:pt>
                <c:pt idx="12">
                  <c:v>1648.0550399999997</c:v>
                </c:pt>
                <c:pt idx="13">
                  <c:v>2390.7058904</c:v>
                </c:pt>
                <c:pt idx="14">
                  <c:v>2513.0829197999997</c:v>
                </c:pt>
                <c:pt idx="15">
                  <c:v>1646.8701626000002</c:v>
                </c:pt>
                <c:pt idx="16">
                  <c:v>2033.0701905999999</c:v>
                </c:pt>
                <c:pt idx="17">
                  <c:v>1020.7765920000002</c:v>
                </c:pt>
                <c:pt idx="18">
                  <c:v>1020.9408873</c:v>
                </c:pt>
                <c:pt idx="19">
                  <c:v>1020.5435284000001</c:v>
                </c:pt>
                <c:pt idx="20">
                  <c:v>1025.8143423000001</c:v>
                </c:pt>
                <c:pt idx="21">
                  <c:v>1020.4896088000002</c:v>
                </c:pt>
                <c:pt idx="22">
                  <c:v>1037.8855112000001</c:v>
                </c:pt>
                <c:pt idx="23">
                  <c:v>1024.7712912000002</c:v>
                </c:pt>
                <c:pt idx="24">
                  <c:v>1266.1929176000001</c:v>
                </c:pt>
                <c:pt idx="25">
                  <c:v>1804.6637799</c:v>
                </c:pt>
                <c:pt idx="26">
                  <c:v>2097.9507189999999</c:v>
                </c:pt>
                <c:pt idx="27">
                  <c:v>2068.7281355</c:v>
                </c:pt>
                <c:pt idx="28">
                  <c:v>2060.8593720999997</c:v>
                </c:pt>
                <c:pt idx="29">
                  <c:v>2052.3329887</c:v>
                </c:pt>
                <c:pt idx="30">
                  <c:v>2064.1265054</c:v>
                </c:pt>
                <c:pt idx="31">
                  <c:v>2283.6942439999998</c:v>
                </c:pt>
                <c:pt idx="32">
                  <c:v>2108.0973101999998</c:v>
                </c:pt>
                <c:pt idx="33">
                  <c:v>1705.6167428999995</c:v>
                </c:pt>
                <c:pt idx="34">
                  <c:v>666.65548120000005</c:v>
                </c:pt>
                <c:pt idx="35">
                  <c:v>669.47771079999995</c:v>
                </c:pt>
                <c:pt idx="36">
                  <c:v>644.10737830000005</c:v>
                </c:pt>
                <c:pt idx="37">
                  <c:v>660.51161300000001</c:v>
                </c:pt>
                <c:pt idx="38">
                  <c:v>653.47484290000011</c:v>
                </c:pt>
                <c:pt idx="39">
                  <c:v>660.33506900000009</c:v>
                </c:pt>
                <c:pt idx="40">
                  <c:v>654.20652899999993</c:v>
                </c:pt>
                <c:pt idx="41">
                  <c:v>631.51335540000002</c:v>
                </c:pt>
                <c:pt idx="42">
                  <c:v>630.8422597</c:v>
                </c:pt>
                <c:pt idx="43">
                  <c:v>1.3818545000000002</c:v>
                </c:pt>
                <c:pt idx="44">
                  <c:v>1.3271904000000001</c:v>
                </c:pt>
                <c:pt idx="45">
                  <c:v>6.0973870999999997</c:v>
                </c:pt>
                <c:pt idx="46">
                  <c:v>0.37277689999999997</c:v>
                </c:pt>
                <c:pt idx="47">
                  <c:v>5.7113310000000013</c:v>
                </c:pt>
                <c:pt idx="48">
                  <c:v>0.83674879999999996</c:v>
                </c:pt>
                <c:pt idx="49">
                  <c:v>5.8343966000000007</c:v>
                </c:pt>
                <c:pt idx="50">
                  <c:v>47.489896899999998</c:v>
                </c:pt>
                <c:pt idx="51">
                  <c:v>379.19030030000005</c:v>
                </c:pt>
                <c:pt idx="52">
                  <c:v>273.01368910000002</c:v>
                </c:pt>
                <c:pt idx="53">
                  <c:v>819.55023489999996</c:v>
                </c:pt>
                <c:pt idx="54">
                  <c:v>284.73831100000001</c:v>
                </c:pt>
                <c:pt idx="55">
                  <c:v>224.43391750000001</c:v>
                </c:pt>
                <c:pt idx="56">
                  <c:v>570.45222249999995</c:v>
                </c:pt>
                <c:pt idx="57">
                  <c:v>916.67171780000001</c:v>
                </c:pt>
                <c:pt idx="58">
                  <c:v>744.73888099999999</c:v>
                </c:pt>
                <c:pt idx="59">
                  <c:v>768.17483340000001</c:v>
                </c:pt>
                <c:pt idx="60">
                  <c:v>942.6467035999998</c:v>
                </c:pt>
                <c:pt idx="61">
                  <c:v>866.19861329999992</c:v>
                </c:pt>
                <c:pt idx="62">
                  <c:v>910.71925829999998</c:v>
                </c:pt>
                <c:pt idx="63">
                  <c:v>959.33668359999979</c:v>
                </c:pt>
                <c:pt idx="64">
                  <c:v>782.8724287</c:v>
                </c:pt>
                <c:pt idx="65">
                  <c:v>973.15372100000002</c:v>
                </c:pt>
                <c:pt idx="66">
                  <c:v>1055.7292945000002</c:v>
                </c:pt>
                <c:pt idx="67">
                  <c:v>1236.0226175999999</c:v>
                </c:pt>
                <c:pt idx="68">
                  <c:v>875.11777359999985</c:v>
                </c:pt>
                <c:pt idx="69">
                  <c:v>1137.3699186999997</c:v>
                </c:pt>
                <c:pt idx="70">
                  <c:v>1058.7904896999999</c:v>
                </c:pt>
                <c:pt idx="71">
                  <c:v>889.3352046</c:v>
                </c:pt>
                <c:pt idx="72">
                  <c:v>1161.3048541999999</c:v>
                </c:pt>
                <c:pt idx="73">
                  <c:v>1157.3324297999998</c:v>
                </c:pt>
                <c:pt idx="74">
                  <c:v>473.09678310000004</c:v>
                </c:pt>
                <c:pt idx="75">
                  <c:v>467.74910249999994</c:v>
                </c:pt>
                <c:pt idx="76">
                  <c:v>457.52210509999998</c:v>
                </c:pt>
                <c:pt idx="77">
                  <c:v>520.07393930000001</c:v>
                </c:pt>
                <c:pt idx="78">
                  <c:v>808.95297719999996</c:v>
                </c:pt>
                <c:pt idx="79">
                  <c:v>470.54142939999997</c:v>
                </c:pt>
                <c:pt idx="80">
                  <c:v>478.49864699999995</c:v>
                </c:pt>
                <c:pt idx="81">
                  <c:v>284.71491960000003</c:v>
                </c:pt>
                <c:pt idx="82">
                  <c:v>1.6131158000000001</c:v>
                </c:pt>
                <c:pt idx="83">
                  <c:v>13.6797678</c:v>
                </c:pt>
                <c:pt idx="84">
                  <c:v>6.6370946000000002</c:v>
                </c:pt>
                <c:pt idx="85">
                  <c:v>0.27329169999999997</c:v>
                </c:pt>
                <c:pt idx="86">
                  <c:v>83.036411000000001</c:v>
                </c:pt>
                <c:pt idx="87">
                  <c:v>319.49902679999997</c:v>
                </c:pt>
                <c:pt idx="88">
                  <c:v>321.12903169999998</c:v>
                </c:pt>
                <c:pt idx="89">
                  <c:v>312.33659410000001</c:v>
                </c:pt>
                <c:pt idx="90">
                  <c:v>335.84856479999996</c:v>
                </c:pt>
                <c:pt idx="91">
                  <c:v>375.87300089999997</c:v>
                </c:pt>
                <c:pt idx="92">
                  <c:v>327.37079590000002</c:v>
                </c:pt>
                <c:pt idx="93">
                  <c:v>392.35130669999995</c:v>
                </c:pt>
                <c:pt idx="94">
                  <c:v>328.90792299999998</c:v>
                </c:pt>
                <c:pt idx="95">
                  <c:v>385.65711460000006</c:v>
                </c:pt>
                <c:pt idx="96">
                  <c:v>318.10654160000007</c:v>
                </c:pt>
                <c:pt idx="97">
                  <c:v>151.32913399999998</c:v>
                </c:pt>
                <c:pt idx="98">
                  <c:v>327.11064220000003</c:v>
                </c:pt>
                <c:pt idx="99">
                  <c:v>585.25345549999997</c:v>
                </c:pt>
                <c:pt idx="100">
                  <c:v>546.18379370000002</c:v>
                </c:pt>
                <c:pt idx="101">
                  <c:v>1339.7173246</c:v>
                </c:pt>
                <c:pt idx="102">
                  <c:v>684.56596439999998</c:v>
                </c:pt>
                <c:pt idx="103">
                  <c:v>767.19906809999986</c:v>
                </c:pt>
                <c:pt idx="104">
                  <c:v>764.50407769999993</c:v>
                </c:pt>
                <c:pt idx="105">
                  <c:v>813.08360319999997</c:v>
                </c:pt>
                <c:pt idx="106">
                  <c:v>778.20032689999994</c:v>
                </c:pt>
                <c:pt idx="107">
                  <c:v>766.50777589999996</c:v>
                </c:pt>
                <c:pt idx="108">
                  <c:v>793.88445039999999</c:v>
                </c:pt>
                <c:pt idx="109">
                  <c:v>887.67475589999992</c:v>
                </c:pt>
                <c:pt idx="110">
                  <c:v>465.80926720000002</c:v>
                </c:pt>
                <c:pt idx="111">
                  <c:v>807.18571840000004</c:v>
                </c:pt>
                <c:pt idx="112">
                  <c:v>798.39087879999988</c:v>
                </c:pt>
                <c:pt idx="113">
                  <c:v>570.09544640000001</c:v>
                </c:pt>
                <c:pt idx="114">
                  <c:v>581.19448709999995</c:v>
                </c:pt>
                <c:pt idx="115">
                  <c:v>64.3560542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80-4D44-B5FB-C7344E7BB008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rgbClr val="7030A0"/>
            </a:solidFill>
            <a:ln w="28575">
              <a:solidFill>
                <a:srgbClr val="7030A0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H$2:$H$117</c:f>
              <c:numCache>
                <c:formatCode>#,##0</c:formatCode>
                <c:ptCount val="1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400.22956850000003</c:v>
                </c:pt>
                <c:pt idx="60">
                  <c:v>1556.4455026000001</c:v>
                </c:pt>
                <c:pt idx="61">
                  <c:v>2244.8974219000002</c:v>
                </c:pt>
                <c:pt idx="62">
                  <c:v>2244.8974219000002</c:v>
                </c:pt>
                <c:pt idx="63">
                  <c:v>2244.8974219000002</c:v>
                </c:pt>
                <c:pt idx="64">
                  <c:v>2244.8974219000002</c:v>
                </c:pt>
                <c:pt idx="65">
                  <c:v>2244.8974219000002</c:v>
                </c:pt>
                <c:pt idx="66">
                  <c:v>2244.8974219000002</c:v>
                </c:pt>
                <c:pt idx="67">
                  <c:v>2244.8974219000002</c:v>
                </c:pt>
                <c:pt idx="68">
                  <c:v>2244.8974219000002</c:v>
                </c:pt>
                <c:pt idx="69">
                  <c:v>2244.8974219000002</c:v>
                </c:pt>
                <c:pt idx="70">
                  <c:v>2244.8974219000002</c:v>
                </c:pt>
                <c:pt idx="71">
                  <c:v>1965.4433214000001</c:v>
                </c:pt>
                <c:pt idx="72">
                  <c:v>864.93928670000003</c:v>
                </c:pt>
                <c:pt idx="73">
                  <c:v>23.436795700000001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478.10597619999999</c:v>
                </c:pt>
                <c:pt idx="100">
                  <c:v>1650.1197104</c:v>
                </c:pt>
                <c:pt idx="101">
                  <c:v>3812.0408710999995</c:v>
                </c:pt>
                <c:pt idx="102">
                  <c:v>7378.7402345999999</c:v>
                </c:pt>
                <c:pt idx="103">
                  <c:v>8482.8415444000002</c:v>
                </c:pt>
                <c:pt idx="104">
                  <c:v>8836.8259003000003</c:v>
                </c:pt>
                <c:pt idx="105">
                  <c:v>8178.6350893999997</c:v>
                </c:pt>
                <c:pt idx="106">
                  <c:v>3139.0999053</c:v>
                </c:pt>
                <c:pt idx="107">
                  <c:v>1.36727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F80-4D44-B5FB-C7344E7BB008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Apple search</c:v>
                </c:pt>
              </c:strCache>
            </c:strRef>
          </c:tx>
          <c:spPr>
            <a:solidFill>
              <a:schemeClr val="tx1"/>
            </a:solidFill>
            <a:ln w="28575">
              <a:solidFill>
                <a:schemeClr val="tx1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I$2:$I$117</c:f>
              <c:numCache>
                <c:formatCode>#,##0</c:formatCode>
                <c:ptCount val="116"/>
                <c:pt idx="0">
                  <c:v>87.241109599999987</c:v>
                </c:pt>
                <c:pt idx="1">
                  <c:v>361.70319419999998</c:v>
                </c:pt>
                <c:pt idx="2">
                  <c:v>353.03669630000002</c:v>
                </c:pt>
                <c:pt idx="3">
                  <c:v>137.37159730000002</c:v>
                </c:pt>
                <c:pt idx="4">
                  <c:v>79.717743999999996</c:v>
                </c:pt>
                <c:pt idx="5">
                  <c:v>113.3009088</c:v>
                </c:pt>
                <c:pt idx="6">
                  <c:v>157.72474189999997</c:v>
                </c:pt>
                <c:pt idx="7">
                  <c:v>151.46015940000001</c:v>
                </c:pt>
                <c:pt idx="8">
                  <c:v>134.5218477</c:v>
                </c:pt>
                <c:pt idx="9">
                  <c:v>127.42263429999998</c:v>
                </c:pt>
                <c:pt idx="10">
                  <c:v>131.03776959999999</c:v>
                </c:pt>
                <c:pt idx="11">
                  <c:v>138.89921460000002</c:v>
                </c:pt>
                <c:pt idx="12">
                  <c:v>192.96720330000002</c:v>
                </c:pt>
                <c:pt idx="13">
                  <c:v>240.44719620000001</c:v>
                </c:pt>
                <c:pt idx="14">
                  <c:v>227.8997755</c:v>
                </c:pt>
                <c:pt idx="15">
                  <c:v>221.88772940000001</c:v>
                </c:pt>
                <c:pt idx="16">
                  <c:v>223.26826980000004</c:v>
                </c:pt>
                <c:pt idx="17">
                  <c:v>197.08539200000001</c:v>
                </c:pt>
                <c:pt idx="18">
                  <c:v>152.13391150000001</c:v>
                </c:pt>
                <c:pt idx="19">
                  <c:v>129.6713699</c:v>
                </c:pt>
                <c:pt idx="20">
                  <c:v>131.90407429999999</c:v>
                </c:pt>
                <c:pt idx="21">
                  <c:v>129.3366643</c:v>
                </c:pt>
                <c:pt idx="22">
                  <c:v>146.7809604</c:v>
                </c:pt>
                <c:pt idx="23">
                  <c:v>148.93341959999998</c:v>
                </c:pt>
                <c:pt idx="24">
                  <c:v>150.55378430000002</c:v>
                </c:pt>
                <c:pt idx="25">
                  <c:v>125.23055429999999</c:v>
                </c:pt>
                <c:pt idx="26">
                  <c:v>104.1415746</c:v>
                </c:pt>
                <c:pt idx="27">
                  <c:v>121.89979269999999</c:v>
                </c:pt>
                <c:pt idx="28">
                  <c:v>139.12944920000001</c:v>
                </c:pt>
                <c:pt idx="29">
                  <c:v>121.58858889999999</c:v>
                </c:pt>
                <c:pt idx="30">
                  <c:v>101.18534299999999</c:v>
                </c:pt>
                <c:pt idx="31">
                  <c:v>116.50059900000001</c:v>
                </c:pt>
                <c:pt idx="32">
                  <c:v>116.52450940000001</c:v>
                </c:pt>
                <c:pt idx="33">
                  <c:v>131.62771949999998</c:v>
                </c:pt>
                <c:pt idx="34">
                  <c:v>130.51288250000002</c:v>
                </c:pt>
                <c:pt idx="35">
                  <c:v>125.5507959</c:v>
                </c:pt>
                <c:pt idx="36">
                  <c:v>88.446981800000003</c:v>
                </c:pt>
                <c:pt idx="37">
                  <c:v>117.9636241</c:v>
                </c:pt>
                <c:pt idx="38">
                  <c:v>140.38234699999998</c:v>
                </c:pt>
                <c:pt idx="39">
                  <c:v>117.9966313</c:v>
                </c:pt>
                <c:pt idx="40">
                  <c:v>88.511114000000006</c:v>
                </c:pt>
                <c:pt idx="41">
                  <c:v>92.280410000000003</c:v>
                </c:pt>
                <c:pt idx="42">
                  <c:v>69.642464799999999</c:v>
                </c:pt>
                <c:pt idx="43">
                  <c:v>15.803955800000001</c:v>
                </c:pt>
                <c:pt idx="44">
                  <c:v>0.13444030000000001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36.703683299999994</c:v>
                </c:pt>
                <c:pt idx="60">
                  <c:v>144.89278199999998</c:v>
                </c:pt>
                <c:pt idx="61">
                  <c:v>186.73647400000002</c:v>
                </c:pt>
                <c:pt idx="62">
                  <c:v>152.30577310000001</c:v>
                </c:pt>
                <c:pt idx="63">
                  <c:v>145.11194310000002</c:v>
                </c:pt>
                <c:pt idx="64">
                  <c:v>146.5285982</c:v>
                </c:pt>
                <c:pt idx="65">
                  <c:v>180.70689050000001</c:v>
                </c:pt>
                <c:pt idx="66">
                  <c:v>198.29142539999998</c:v>
                </c:pt>
                <c:pt idx="67">
                  <c:v>215.65191010000004</c:v>
                </c:pt>
                <c:pt idx="68">
                  <c:v>247.7853628</c:v>
                </c:pt>
                <c:pt idx="69">
                  <c:v>258.77947760000001</c:v>
                </c:pt>
                <c:pt idx="70">
                  <c:v>256.23111979999999</c:v>
                </c:pt>
                <c:pt idx="71">
                  <c:v>231.75396170000002</c:v>
                </c:pt>
                <c:pt idx="72">
                  <c:v>206.76189840000001</c:v>
                </c:pt>
                <c:pt idx="73">
                  <c:v>173.30051570000001</c:v>
                </c:pt>
                <c:pt idx="74">
                  <c:v>168.60229049999998</c:v>
                </c:pt>
                <c:pt idx="75">
                  <c:v>166.82721709999998</c:v>
                </c:pt>
                <c:pt idx="76">
                  <c:v>150.735117</c:v>
                </c:pt>
                <c:pt idx="77">
                  <c:v>167.9596014</c:v>
                </c:pt>
                <c:pt idx="78">
                  <c:v>211.9234505</c:v>
                </c:pt>
                <c:pt idx="79">
                  <c:v>270.99332019999997</c:v>
                </c:pt>
                <c:pt idx="80">
                  <c:v>289.88448039999997</c:v>
                </c:pt>
                <c:pt idx="81">
                  <c:v>270.29483310000001</c:v>
                </c:pt>
                <c:pt idx="82">
                  <c:v>226.18888619999998</c:v>
                </c:pt>
                <c:pt idx="83">
                  <c:v>172.56455969999999</c:v>
                </c:pt>
                <c:pt idx="84">
                  <c:v>140.36718339999999</c:v>
                </c:pt>
                <c:pt idx="85">
                  <c:v>121.51392380000001</c:v>
                </c:pt>
                <c:pt idx="86">
                  <c:v>127.04212399999999</c:v>
                </c:pt>
                <c:pt idx="87">
                  <c:v>165.8343399</c:v>
                </c:pt>
                <c:pt idx="88">
                  <c:v>200.68746109999998</c:v>
                </c:pt>
                <c:pt idx="89">
                  <c:v>207.55725699999999</c:v>
                </c:pt>
                <c:pt idx="90">
                  <c:v>206.70509330000002</c:v>
                </c:pt>
                <c:pt idx="91">
                  <c:v>210.86018599999997</c:v>
                </c:pt>
                <c:pt idx="92">
                  <c:v>211.3572489</c:v>
                </c:pt>
                <c:pt idx="93">
                  <c:v>216.81455040000003</c:v>
                </c:pt>
                <c:pt idx="94">
                  <c:v>233.81339750000001</c:v>
                </c:pt>
                <c:pt idx="95">
                  <c:v>271.40492599999999</c:v>
                </c:pt>
                <c:pt idx="96">
                  <c:v>289.6915846</c:v>
                </c:pt>
                <c:pt idx="97">
                  <c:v>302.95308590000002</c:v>
                </c:pt>
                <c:pt idx="98">
                  <c:v>275.66528790000001</c:v>
                </c:pt>
                <c:pt idx="99">
                  <c:v>238.38269449999999</c:v>
                </c:pt>
                <c:pt idx="100">
                  <c:v>302.15716259999999</c:v>
                </c:pt>
                <c:pt idx="101">
                  <c:v>452.75532989999999</c:v>
                </c:pt>
                <c:pt idx="102">
                  <c:v>547.9490217</c:v>
                </c:pt>
                <c:pt idx="103">
                  <c:v>563.8107761</c:v>
                </c:pt>
                <c:pt idx="104">
                  <c:v>440.97345849999999</c:v>
                </c:pt>
                <c:pt idx="105">
                  <c:v>362.97045859999997</c:v>
                </c:pt>
                <c:pt idx="106">
                  <c:v>366.30365750000004</c:v>
                </c:pt>
                <c:pt idx="107">
                  <c:v>348.30530220000003</c:v>
                </c:pt>
                <c:pt idx="108">
                  <c:v>406.71950300000003</c:v>
                </c:pt>
                <c:pt idx="109">
                  <c:v>467.65359449999994</c:v>
                </c:pt>
                <c:pt idx="110">
                  <c:v>514.3143235</c:v>
                </c:pt>
                <c:pt idx="111">
                  <c:v>813.39097839999999</c:v>
                </c:pt>
                <c:pt idx="112">
                  <c:v>998.78533059999995</c:v>
                </c:pt>
                <c:pt idx="113">
                  <c:v>878.12632339999993</c:v>
                </c:pt>
                <c:pt idx="114">
                  <c:v>731.18373139999994</c:v>
                </c:pt>
                <c:pt idx="115">
                  <c:v>93.5730915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F80-4D44-B5FB-C7344E7BB008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Facebook</c:v>
                </c:pt>
              </c:strCache>
            </c:strRef>
          </c:tx>
          <c:spPr>
            <a:solidFill>
              <a:schemeClr val="accent2"/>
            </a:solidFill>
            <a:ln w="28575">
              <a:solidFill>
                <a:schemeClr val="accent2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J$2:$J$117</c:f>
              <c:numCache>
                <c:formatCode>#,##0</c:formatCode>
                <c:ptCount val="116"/>
                <c:pt idx="0">
                  <c:v>2484.2573757</c:v>
                </c:pt>
                <c:pt idx="1">
                  <c:v>4879.1952770999997</c:v>
                </c:pt>
                <c:pt idx="2">
                  <c:v>1532.2330281999998</c:v>
                </c:pt>
                <c:pt idx="3">
                  <c:v>780.17935740000007</c:v>
                </c:pt>
                <c:pt idx="4">
                  <c:v>1918.6694291999997</c:v>
                </c:pt>
                <c:pt idx="5">
                  <c:v>1840.3477395999998</c:v>
                </c:pt>
                <c:pt idx="6">
                  <c:v>1836.7354111000002</c:v>
                </c:pt>
                <c:pt idx="7">
                  <c:v>1998.7452784999998</c:v>
                </c:pt>
                <c:pt idx="8">
                  <c:v>2097.1163741999999</c:v>
                </c:pt>
                <c:pt idx="9">
                  <c:v>2349.4971203</c:v>
                </c:pt>
                <c:pt idx="10">
                  <c:v>2478.3746944999998</c:v>
                </c:pt>
                <c:pt idx="11">
                  <c:v>2584.3002079999997</c:v>
                </c:pt>
                <c:pt idx="12">
                  <c:v>2429.4248231000006</c:v>
                </c:pt>
                <c:pt idx="13">
                  <c:v>1969.9694040999998</c:v>
                </c:pt>
                <c:pt idx="14">
                  <c:v>1937.4887575999999</c:v>
                </c:pt>
                <c:pt idx="15">
                  <c:v>2103.1260609000001</c:v>
                </c:pt>
                <c:pt idx="16">
                  <c:v>2141.6320211000002</c:v>
                </c:pt>
                <c:pt idx="17">
                  <c:v>1775.6075894999999</c:v>
                </c:pt>
                <c:pt idx="18">
                  <c:v>2070.7993368000002</c:v>
                </c:pt>
                <c:pt idx="19">
                  <c:v>2431.3897544000001</c:v>
                </c:pt>
                <c:pt idx="20">
                  <c:v>2153.4779165</c:v>
                </c:pt>
                <c:pt idx="21">
                  <c:v>1754.7016008999999</c:v>
                </c:pt>
                <c:pt idx="22">
                  <c:v>1511.2597589000002</c:v>
                </c:pt>
                <c:pt idx="23">
                  <c:v>1574.4450129000002</c:v>
                </c:pt>
                <c:pt idx="24">
                  <c:v>2495.2890921999997</c:v>
                </c:pt>
                <c:pt idx="25">
                  <c:v>4784.1186379999999</c:v>
                </c:pt>
                <c:pt idx="26">
                  <c:v>6703.4811137000006</c:v>
                </c:pt>
                <c:pt idx="27">
                  <c:v>6949.8047307999996</c:v>
                </c:pt>
                <c:pt idx="28">
                  <c:v>5623.5997985000004</c:v>
                </c:pt>
                <c:pt idx="29">
                  <c:v>3089.9772510000003</c:v>
                </c:pt>
                <c:pt idx="30">
                  <c:v>2647.1183511999998</c:v>
                </c:pt>
                <c:pt idx="31">
                  <c:v>2433.6420044000001</c:v>
                </c:pt>
                <c:pt idx="32">
                  <c:v>2409.0488582999997</c:v>
                </c:pt>
                <c:pt idx="33">
                  <c:v>2997.4524168000003</c:v>
                </c:pt>
                <c:pt idx="34">
                  <c:v>2855.8185730999999</c:v>
                </c:pt>
                <c:pt idx="35">
                  <c:v>2310.9316083999997</c:v>
                </c:pt>
                <c:pt idx="36">
                  <c:v>1841.5640527</c:v>
                </c:pt>
                <c:pt idx="37">
                  <c:v>5726.194499199999</c:v>
                </c:pt>
                <c:pt idx="38">
                  <c:v>6710.4257486999995</c:v>
                </c:pt>
                <c:pt idx="39">
                  <c:v>4410.1163826000002</c:v>
                </c:pt>
                <c:pt idx="40">
                  <c:v>2224.8470962999995</c:v>
                </c:pt>
                <c:pt idx="41">
                  <c:v>448.0234519</c:v>
                </c:pt>
                <c:pt idx="42">
                  <c:v>43.750858100000002</c:v>
                </c:pt>
                <c:pt idx="43">
                  <c:v>11.340352600000001</c:v>
                </c:pt>
                <c:pt idx="44">
                  <c:v>7.4162873000000005</c:v>
                </c:pt>
                <c:pt idx="45">
                  <c:v>5.3410230999999992</c:v>
                </c:pt>
                <c:pt idx="46">
                  <c:v>9.8722996999999992</c:v>
                </c:pt>
                <c:pt idx="47">
                  <c:v>31.794595099999999</c:v>
                </c:pt>
                <c:pt idx="48">
                  <c:v>13.3466288</c:v>
                </c:pt>
                <c:pt idx="49">
                  <c:v>7.5401214000000003</c:v>
                </c:pt>
                <c:pt idx="50">
                  <c:v>16.9335837</c:v>
                </c:pt>
                <c:pt idx="51">
                  <c:v>5.3048643000000002</c:v>
                </c:pt>
                <c:pt idx="52">
                  <c:v>8.0597302000000006</c:v>
                </c:pt>
                <c:pt idx="53">
                  <c:v>103.87805019999999</c:v>
                </c:pt>
                <c:pt idx="54">
                  <c:v>218.0514034</c:v>
                </c:pt>
                <c:pt idx="55">
                  <c:v>276.64922139999999</c:v>
                </c:pt>
                <c:pt idx="56">
                  <c:v>464.30209190000005</c:v>
                </c:pt>
                <c:pt idx="57">
                  <c:v>749.41433510000002</c:v>
                </c:pt>
                <c:pt idx="58">
                  <c:v>967.93527479999989</c:v>
                </c:pt>
                <c:pt idx="59">
                  <c:v>1350.3299700999999</c:v>
                </c:pt>
                <c:pt idx="60">
                  <c:v>977.78346090000002</c:v>
                </c:pt>
                <c:pt idx="61">
                  <c:v>508.50680510000001</c:v>
                </c:pt>
                <c:pt idx="62">
                  <c:v>632.48112049999997</c:v>
                </c:pt>
                <c:pt idx="63">
                  <c:v>1093.9419561000002</c:v>
                </c:pt>
                <c:pt idx="64">
                  <c:v>1878.5702627999999</c:v>
                </c:pt>
                <c:pt idx="65">
                  <c:v>2446.9925951000005</c:v>
                </c:pt>
                <c:pt idx="66">
                  <c:v>3469.6032143000002</c:v>
                </c:pt>
                <c:pt idx="67">
                  <c:v>4017.1224393999992</c:v>
                </c:pt>
                <c:pt idx="68">
                  <c:v>4403.7983112000011</c:v>
                </c:pt>
                <c:pt idx="69">
                  <c:v>4452.2992820999998</c:v>
                </c:pt>
                <c:pt idx="70">
                  <c:v>4279.7891041000003</c:v>
                </c:pt>
                <c:pt idx="71">
                  <c:v>4223.4153943000001</c:v>
                </c:pt>
                <c:pt idx="72">
                  <c:v>3746.2003489999997</c:v>
                </c:pt>
                <c:pt idx="73">
                  <c:v>2318.4656076000001</c:v>
                </c:pt>
                <c:pt idx="74">
                  <c:v>728.62003230000005</c:v>
                </c:pt>
                <c:pt idx="75">
                  <c:v>132.0254391</c:v>
                </c:pt>
                <c:pt idx="76">
                  <c:v>145.19356849999997</c:v>
                </c:pt>
                <c:pt idx="77">
                  <c:v>179.66431599999999</c:v>
                </c:pt>
                <c:pt idx="78">
                  <c:v>205.6893221</c:v>
                </c:pt>
                <c:pt idx="79">
                  <c:v>243.05033359999999</c:v>
                </c:pt>
                <c:pt idx="80">
                  <c:v>419.1501571</c:v>
                </c:pt>
                <c:pt idx="81">
                  <c:v>486.84302630000002</c:v>
                </c:pt>
                <c:pt idx="82">
                  <c:v>311.23714599999994</c:v>
                </c:pt>
                <c:pt idx="83">
                  <c:v>132.9947726</c:v>
                </c:pt>
                <c:pt idx="84">
                  <c:v>105.27862020000001</c:v>
                </c:pt>
                <c:pt idx="85">
                  <c:v>67.166270400000002</c:v>
                </c:pt>
                <c:pt idx="86">
                  <c:v>55.372340399999992</c:v>
                </c:pt>
                <c:pt idx="87">
                  <c:v>96.612702300000009</c:v>
                </c:pt>
                <c:pt idx="88">
                  <c:v>159.48729839999999</c:v>
                </c:pt>
                <c:pt idx="89">
                  <c:v>184.4780313</c:v>
                </c:pt>
                <c:pt idx="90">
                  <c:v>186.56523369999999</c:v>
                </c:pt>
                <c:pt idx="91">
                  <c:v>296.43676289999996</c:v>
                </c:pt>
                <c:pt idx="92">
                  <c:v>320.13994819999999</c:v>
                </c:pt>
                <c:pt idx="93">
                  <c:v>306.51816660000003</c:v>
                </c:pt>
                <c:pt idx="94">
                  <c:v>300.58118580000001</c:v>
                </c:pt>
                <c:pt idx="95">
                  <c:v>388.45489020000002</c:v>
                </c:pt>
                <c:pt idx="96">
                  <c:v>380.8691877</c:v>
                </c:pt>
                <c:pt idx="97">
                  <c:v>510.89595389999999</c:v>
                </c:pt>
                <c:pt idx="98">
                  <c:v>722.71997210000006</c:v>
                </c:pt>
                <c:pt idx="99">
                  <c:v>806.26798020000001</c:v>
                </c:pt>
                <c:pt idx="100">
                  <c:v>868.26866999999993</c:v>
                </c:pt>
                <c:pt idx="101">
                  <c:v>1173.3700106000001</c:v>
                </c:pt>
                <c:pt idx="102">
                  <c:v>1657.5085472999997</c:v>
                </c:pt>
                <c:pt idx="103">
                  <c:v>1917.1133931999998</c:v>
                </c:pt>
                <c:pt idx="104">
                  <c:v>1839.5701988000001</c:v>
                </c:pt>
                <c:pt idx="105">
                  <c:v>1621.0700703</c:v>
                </c:pt>
                <c:pt idx="106">
                  <c:v>1471.3966965</c:v>
                </c:pt>
                <c:pt idx="107">
                  <c:v>1470.4154091999999</c:v>
                </c:pt>
                <c:pt idx="108">
                  <c:v>1411.6204484</c:v>
                </c:pt>
                <c:pt idx="109">
                  <c:v>1540.1315302</c:v>
                </c:pt>
                <c:pt idx="110">
                  <c:v>1797.7519376</c:v>
                </c:pt>
                <c:pt idx="111">
                  <c:v>1846.5279617000001</c:v>
                </c:pt>
                <c:pt idx="112">
                  <c:v>1730.8326227</c:v>
                </c:pt>
                <c:pt idx="113">
                  <c:v>1827.2248122999999</c:v>
                </c:pt>
                <c:pt idx="114">
                  <c:v>1736.4790026999999</c:v>
                </c:pt>
                <c:pt idx="115">
                  <c:v>207.95947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80-4D44-B5FB-C7344E7BB008}"/>
            </c:ext>
          </c:extLst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Google</c:v>
                </c:pt>
              </c:strCache>
            </c:strRef>
          </c:tx>
          <c:spPr>
            <a:solidFill>
              <a:srgbClr val="C00000"/>
            </a:solidFill>
            <a:ln w="28575">
              <a:solidFill>
                <a:srgbClr val="C00000"/>
              </a:solidFill>
            </a:ln>
            <a:effectLst/>
          </c:spPr>
          <c:invertIfNegative val="0"/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K$2:$K$117</c:f>
              <c:numCache>
                <c:formatCode>#,##0</c:formatCode>
                <c:ptCount val="116"/>
                <c:pt idx="0">
                  <c:v>1707.4057617999999</c:v>
                </c:pt>
                <c:pt idx="1">
                  <c:v>3337.7387319999998</c:v>
                </c:pt>
                <c:pt idx="2">
                  <c:v>1364.3438934999997</c:v>
                </c:pt>
                <c:pt idx="3">
                  <c:v>715.24164230000008</c:v>
                </c:pt>
                <c:pt idx="4">
                  <c:v>1427.5500881</c:v>
                </c:pt>
                <c:pt idx="5">
                  <c:v>1236.1013490999999</c:v>
                </c:pt>
                <c:pt idx="6">
                  <c:v>1056.3099293</c:v>
                </c:pt>
                <c:pt idx="7">
                  <c:v>959.31783159999986</c:v>
                </c:pt>
                <c:pt idx="8">
                  <c:v>1334.4466480000001</c:v>
                </c:pt>
                <c:pt idx="9">
                  <c:v>1760.1807055000002</c:v>
                </c:pt>
                <c:pt idx="10">
                  <c:v>1597.4886116999999</c:v>
                </c:pt>
                <c:pt idx="11">
                  <c:v>1292.2868745999999</c:v>
                </c:pt>
                <c:pt idx="12">
                  <c:v>1257.8116471000001</c:v>
                </c:pt>
                <c:pt idx="13">
                  <c:v>1405.6717286000001</c:v>
                </c:pt>
                <c:pt idx="14">
                  <c:v>1365.4039409</c:v>
                </c:pt>
                <c:pt idx="15">
                  <c:v>1282.2479823000001</c:v>
                </c:pt>
                <c:pt idx="16">
                  <c:v>1179.2936253</c:v>
                </c:pt>
                <c:pt idx="17">
                  <c:v>1293.5072934000002</c:v>
                </c:pt>
                <c:pt idx="18">
                  <c:v>1420.3232078999999</c:v>
                </c:pt>
                <c:pt idx="19">
                  <c:v>1483.7280739999999</c:v>
                </c:pt>
                <c:pt idx="20">
                  <c:v>1642.9469986999998</c:v>
                </c:pt>
                <c:pt idx="21">
                  <c:v>1628.9453344000001</c:v>
                </c:pt>
                <c:pt idx="22">
                  <c:v>1669.7749630000001</c:v>
                </c:pt>
                <c:pt idx="23">
                  <c:v>1484.0435571000003</c:v>
                </c:pt>
                <c:pt idx="24">
                  <c:v>1560.8270499</c:v>
                </c:pt>
                <c:pt idx="25">
                  <c:v>2268.1718062999998</c:v>
                </c:pt>
                <c:pt idx="26">
                  <c:v>2741.5282504999996</c:v>
                </c:pt>
                <c:pt idx="27">
                  <c:v>3070.5802271000002</c:v>
                </c:pt>
                <c:pt idx="28">
                  <c:v>2571.0050160000001</c:v>
                </c:pt>
                <c:pt idx="29">
                  <c:v>2386.7586379999998</c:v>
                </c:pt>
                <c:pt idx="30">
                  <c:v>2515.8132191</c:v>
                </c:pt>
                <c:pt idx="31">
                  <c:v>2251.5673575999999</c:v>
                </c:pt>
                <c:pt idx="32">
                  <c:v>2300.1145492999999</c:v>
                </c:pt>
                <c:pt idx="33">
                  <c:v>3280.0022383</c:v>
                </c:pt>
                <c:pt idx="34">
                  <c:v>3253.4342918999996</c:v>
                </c:pt>
                <c:pt idx="35">
                  <c:v>2765.4474442000001</c:v>
                </c:pt>
                <c:pt idx="36">
                  <c:v>1499.0582270000002</c:v>
                </c:pt>
                <c:pt idx="37">
                  <c:v>2901.4471132999997</c:v>
                </c:pt>
                <c:pt idx="38">
                  <c:v>4608.9010562000003</c:v>
                </c:pt>
                <c:pt idx="39">
                  <c:v>4338.9091731000008</c:v>
                </c:pt>
                <c:pt idx="40">
                  <c:v>1767.3841165000001</c:v>
                </c:pt>
                <c:pt idx="41">
                  <c:v>283.5046997</c:v>
                </c:pt>
                <c:pt idx="42">
                  <c:v>21.006883399999996</c:v>
                </c:pt>
                <c:pt idx="43">
                  <c:v>1.9203000000000001E-2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100.290255</c:v>
                </c:pt>
                <c:pt idx="57">
                  <c:v>392.41316929999999</c:v>
                </c:pt>
                <c:pt idx="58">
                  <c:v>585.24048190000008</c:v>
                </c:pt>
                <c:pt idx="59">
                  <c:v>801.40245760000005</c:v>
                </c:pt>
                <c:pt idx="60">
                  <c:v>1162.0288929000001</c:v>
                </c:pt>
                <c:pt idx="61">
                  <c:v>1453.0031900000001</c:v>
                </c:pt>
                <c:pt idx="62">
                  <c:v>1300.7733335</c:v>
                </c:pt>
                <c:pt idx="63">
                  <c:v>783.61946799999987</c:v>
                </c:pt>
                <c:pt idx="64">
                  <c:v>689.14827209999999</c:v>
                </c:pt>
                <c:pt idx="65">
                  <c:v>1032.4787739000001</c:v>
                </c:pt>
                <c:pt idx="66">
                  <c:v>1688.9561894000001</c:v>
                </c:pt>
                <c:pt idx="67">
                  <c:v>2699.7234036</c:v>
                </c:pt>
                <c:pt idx="68">
                  <c:v>3229.2883613000004</c:v>
                </c:pt>
                <c:pt idx="69">
                  <c:v>3816.6396600999997</c:v>
                </c:pt>
                <c:pt idx="70">
                  <c:v>3679.9503623000001</c:v>
                </c:pt>
                <c:pt idx="71">
                  <c:v>3370.9642500999998</c:v>
                </c:pt>
                <c:pt idx="72">
                  <c:v>3144.3888328000003</c:v>
                </c:pt>
                <c:pt idx="73">
                  <c:v>2467.8333847999997</c:v>
                </c:pt>
                <c:pt idx="74">
                  <c:v>866.00630480000007</c:v>
                </c:pt>
                <c:pt idx="75">
                  <c:v>255.90930600000002</c:v>
                </c:pt>
                <c:pt idx="76">
                  <c:v>182.19441119999999</c:v>
                </c:pt>
                <c:pt idx="77">
                  <c:v>226.1162764</c:v>
                </c:pt>
                <c:pt idx="78">
                  <c:v>413.0702258</c:v>
                </c:pt>
                <c:pt idx="79">
                  <c:v>728.33632209999996</c:v>
                </c:pt>
                <c:pt idx="80">
                  <c:v>967.86082659999988</c:v>
                </c:pt>
                <c:pt idx="81">
                  <c:v>1282.4092000000001</c:v>
                </c:pt>
                <c:pt idx="82">
                  <c:v>1053.3723814</c:v>
                </c:pt>
                <c:pt idx="83">
                  <c:v>584.13252280000006</c:v>
                </c:pt>
                <c:pt idx="84">
                  <c:v>223.60057659999998</c:v>
                </c:pt>
                <c:pt idx="85">
                  <c:v>157.33289280000002</c:v>
                </c:pt>
                <c:pt idx="86">
                  <c:v>206.7786141</c:v>
                </c:pt>
                <c:pt idx="87">
                  <c:v>389.59256849999997</c:v>
                </c:pt>
                <c:pt idx="88">
                  <c:v>444.04823459999994</c:v>
                </c:pt>
                <c:pt idx="89">
                  <c:v>486.2153624</c:v>
                </c:pt>
                <c:pt idx="90">
                  <c:v>446.12950539999997</c:v>
                </c:pt>
                <c:pt idx="91">
                  <c:v>472.26427550000005</c:v>
                </c:pt>
                <c:pt idx="92">
                  <c:v>633.82635549999998</c:v>
                </c:pt>
                <c:pt idx="93">
                  <c:v>1175.1407260999999</c:v>
                </c:pt>
                <c:pt idx="94">
                  <c:v>1386.2241368</c:v>
                </c:pt>
                <c:pt idx="95">
                  <c:v>1571.7497331000002</c:v>
                </c:pt>
                <c:pt idx="96">
                  <c:v>1781.6877474</c:v>
                </c:pt>
                <c:pt idx="97">
                  <c:v>1956.0769098999999</c:v>
                </c:pt>
                <c:pt idx="98">
                  <c:v>1853.2466670000001</c:v>
                </c:pt>
                <c:pt idx="99">
                  <c:v>1194.7591345000001</c:v>
                </c:pt>
                <c:pt idx="100">
                  <c:v>1202.4108564000001</c:v>
                </c:pt>
                <c:pt idx="101">
                  <c:v>1488.6364670999999</c:v>
                </c:pt>
                <c:pt idx="102">
                  <c:v>1984.1156949000001</c:v>
                </c:pt>
                <c:pt idx="103">
                  <c:v>2464.0829787000002</c:v>
                </c:pt>
                <c:pt idx="104">
                  <c:v>2907.6940581000003</c:v>
                </c:pt>
                <c:pt idx="105">
                  <c:v>3094.3351942999998</c:v>
                </c:pt>
                <c:pt idx="106">
                  <c:v>2987.1821497999995</c:v>
                </c:pt>
                <c:pt idx="107">
                  <c:v>3034.0971491</c:v>
                </c:pt>
                <c:pt idx="108">
                  <c:v>2925.2544046000003</c:v>
                </c:pt>
                <c:pt idx="109">
                  <c:v>2835.6751000999998</c:v>
                </c:pt>
                <c:pt idx="110">
                  <c:v>2667.6184309999999</c:v>
                </c:pt>
                <c:pt idx="111">
                  <c:v>1703.8725024</c:v>
                </c:pt>
                <c:pt idx="112">
                  <c:v>1356.9384108000002</c:v>
                </c:pt>
                <c:pt idx="113">
                  <c:v>1340.8177250000001</c:v>
                </c:pt>
                <c:pt idx="114">
                  <c:v>1342.0513579000001</c:v>
                </c:pt>
                <c:pt idx="115">
                  <c:v>209.31690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F80-4D44-B5FB-C7344E7BB0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77514272"/>
        <c:axId val="27751483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uals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117</c:f>
              <c:numCache>
                <c:formatCode>m/d/yyyy</c:formatCode>
                <c:ptCount val="116"/>
                <c:pt idx="0">
                  <c:v>43626</c:v>
                </c:pt>
                <c:pt idx="1">
                  <c:v>43633</c:v>
                </c:pt>
                <c:pt idx="2">
                  <c:v>43640</c:v>
                </c:pt>
                <c:pt idx="3">
                  <c:v>43647</c:v>
                </c:pt>
                <c:pt idx="4">
                  <c:v>43654</c:v>
                </c:pt>
                <c:pt idx="5">
                  <c:v>43661</c:v>
                </c:pt>
                <c:pt idx="6">
                  <c:v>43668</c:v>
                </c:pt>
                <c:pt idx="7">
                  <c:v>43675</c:v>
                </c:pt>
                <c:pt idx="8">
                  <c:v>43682</c:v>
                </c:pt>
                <c:pt idx="9">
                  <c:v>43689</c:v>
                </c:pt>
                <c:pt idx="10">
                  <c:v>43696</c:v>
                </c:pt>
                <c:pt idx="11">
                  <c:v>43703</c:v>
                </c:pt>
                <c:pt idx="12">
                  <c:v>43710</c:v>
                </c:pt>
                <c:pt idx="13">
                  <c:v>43717</c:v>
                </c:pt>
                <c:pt idx="14">
                  <c:v>43724</c:v>
                </c:pt>
                <c:pt idx="15">
                  <c:v>43731</c:v>
                </c:pt>
                <c:pt idx="16">
                  <c:v>43738</c:v>
                </c:pt>
                <c:pt idx="17">
                  <c:v>43745</c:v>
                </c:pt>
                <c:pt idx="18">
                  <c:v>43752</c:v>
                </c:pt>
                <c:pt idx="19">
                  <c:v>43759</c:v>
                </c:pt>
                <c:pt idx="20">
                  <c:v>43766</c:v>
                </c:pt>
                <c:pt idx="21">
                  <c:v>43773</c:v>
                </c:pt>
                <c:pt idx="22">
                  <c:v>43780</c:v>
                </c:pt>
                <c:pt idx="23">
                  <c:v>43787</c:v>
                </c:pt>
                <c:pt idx="24">
                  <c:v>43794</c:v>
                </c:pt>
                <c:pt idx="25">
                  <c:v>43801</c:v>
                </c:pt>
                <c:pt idx="26">
                  <c:v>43808</c:v>
                </c:pt>
                <c:pt idx="27">
                  <c:v>43815</c:v>
                </c:pt>
                <c:pt idx="28">
                  <c:v>43822</c:v>
                </c:pt>
                <c:pt idx="29">
                  <c:v>43829</c:v>
                </c:pt>
                <c:pt idx="30">
                  <c:v>43836</c:v>
                </c:pt>
                <c:pt idx="31">
                  <c:v>43843</c:v>
                </c:pt>
                <c:pt idx="32">
                  <c:v>43850</c:v>
                </c:pt>
                <c:pt idx="33">
                  <c:v>43857</c:v>
                </c:pt>
                <c:pt idx="34">
                  <c:v>43864</c:v>
                </c:pt>
                <c:pt idx="35">
                  <c:v>43871</c:v>
                </c:pt>
                <c:pt idx="36">
                  <c:v>43878</c:v>
                </c:pt>
                <c:pt idx="37">
                  <c:v>43885</c:v>
                </c:pt>
                <c:pt idx="38">
                  <c:v>43892</c:v>
                </c:pt>
                <c:pt idx="39">
                  <c:v>43899</c:v>
                </c:pt>
                <c:pt idx="40">
                  <c:v>43906</c:v>
                </c:pt>
                <c:pt idx="41">
                  <c:v>43913</c:v>
                </c:pt>
                <c:pt idx="42">
                  <c:v>43920</c:v>
                </c:pt>
                <c:pt idx="43">
                  <c:v>43927</c:v>
                </c:pt>
                <c:pt idx="44">
                  <c:v>43934</c:v>
                </c:pt>
                <c:pt idx="45">
                  <c:v>43941</c:v>
                </c:pt>
                <c:pt idx="46">
                  <c:v>43948</c:v>
                </c:pt>
                <c:pt idx="47">
                  <c:v>43955</c:v>
                </c:pt>
                <c:pt idx="48">
                  <c:v>43962</c:v>
                </c:pt>
                <c:pt idx="49">
                  <c:v>43969</c:v>
                </c:pt>
                <c:pt idx="50">
                  <c:v>43976</c:v>
                </c:pt>
                <c:pt idx="51">
                  <c:v>43983</c:v>
                </c:pt>
                <c:pt idx="52">
                  <c:v>43990</c:v>
                </c:pt>
                <c:pt idx="53">
                  <c:v>43997</c:v>
                </c:pt>
                <c:pt idx="54">
                  <c:v>44004</c:v>
                </c:pt>
                <c:pt idx="55">
                  <c:v>44011</c:v>
                </c:pt>
                <c:pt idx="56">
                  <c:v>44018</c:v>
                </c:pt>
                <c:pt idx="57">
                  <c:v>44025</c:v>
                </c:pt>
                <c:pt idx="58">
                  <c:v>44032</c:v>
                </c:pt>
                <c:pt idx="59">
                  <c:v>44039</c:v>
                </c:pt>
                <c:pt idx="60">
                  <c:v>44046</c:v>
                </c:pt>
                <c:pt idx="61">
                  <c:v>44053</c:v>
                </c:pt>
                <c:pt idx="62">
                  <c:v>44060</c:v>
                </c:pt>
                <c:pt idx="63">
                  <c:v>44067</c:v>
                </c:pt>
                <c:pt idx="64">
                  <c:v>44074</c:v>
                </c:pt>
                <c:pt idx="65">
                  <c:v>44081</c:v>
                </c:pt>
                <c:pt idx="66">
                  <c:v>44088</c:v>
                </c:pt>
                <c:pt idx="67">
                  <c:v>44095</c:v>
                </c:pt>
                <c:pt idx="68">
                  <c:v>44102</c:v>
                </c:pt>
                <c:pt idx="69">
                  <c:v>44109</c:v>
                </c:pt>
                <c:pt idx="70">
                  <c:v>44116</c:v>
                </c:pt>
                <c:pt idx="71">
                  <c:v>44123</c:v>
                </c:pt>
                <c:pt idx="72">
                  <c:v>44130</c:v>
                </c:pt>
                <c:pt idx="73">
                  <c:v>44137</c:v>
                </c:pt>
                <c:pt idx="74">
                  <c:v>44144</c:v>
                </c:pt>
                <c:pt idx="75">
                  <c:v>44151</c:v>
                </c:pt>
                <c:pt idx="76">
                  <c:v>44158</c:v>
                </c:pt>
                <c:pt idx="77">
                  <c:v>44165</c:v>
                </c:pt>
                <c:pt idx="78">
                  <c:v>44172</c:v>
                </c:pt>
                <c:pt idx="79">
                  <c:v>44179</c:v>
                </c:pt>
                <c:pt idx="80">
                  <c:v>44186</c:v>
                </c:pt>
                <c:pt idx="81">
                  <c:v>44193</c:v>
                </c:pt>
                <c:pt idx="82">
                  <c:v>44200</c:v>
                </c:pt>
                <c:pt idx="83">
                  <c:v>44207</c:v>
                </c:pt>
                <c:pt idx="84">
                  <c:v>44214</c:v>
                </c:pt>
                <c:pt idx="85">
                  <c:v>44221</c:v>
                </c:pt>
                <c:pt idx="86">
                  <c:v>44228</c:v>
                </c:pt>
                <c:pt idx="87">
                  <c:v>44235</c:v>
                </c:pt>
                <c:pt idx="88">
                  <c:v>44242</c:v>
                </c:pt>
                <c:pt idx="89">
                  <c:v>44249</c:v>
                </c:pt>
                <c:pt idx="90">
                  <c:v>44256</c:v>
                </c:pt>
                <c:pt idx="91">
                  <c:v>44263</c:v>
                </c:pt>
                <c:pt idx="92">
                  <c:v>44270</c:v>
                </c:pt>
                <c:pt idx="93">
                  <c:v>44277</c:v>
                </c:pt>
                <c:pt idx="94">
                  <c:v>44284</c:v>
                </c:pt>
                <c:pt idx="95">
                  <c:v>44291</c:v>
                </c:pt>
                <c:pt idx="96">
                  <c:v>44298</c:v>
                </c:pt>
                <c:pt idx="97">
                  <c:v>44305</c:v>
                </c:pt>
                <c:pt idx="98">
                  <c:v>44312</c:v>
                </c:pt>
                <c:pt idx="99">
                  <c:v>44319</c:v>
                </c:pt>
                <c:pt idx="100">
                  <c:v>44326</c:v>
                </c:pt>
                <c:pt idx="101">
                  <c:v>44333</c:v>
                </c:pt>
                <c:pt idx="102">
                  <c:v>44340</c:v>
                </c:pt>
                <c:pt idx="103">
                  <c:v>44347</c:v>
                </c:pt>
                <c:pt idx="104">
                  <c:v>44354</c:v>
                </c:pt>
                <c:pt idx="105">
                  <c:v>44361</c:v>
                </c:pt>
                <c:pt idx="106">
                  <c:v>44368</c:v>
                </c:pt>
                <c:pt idx="107">
                  <c:v>44375</c:v>
                </c:pt>
                <c:pt idx="108">
                  <c:v>44382</c:v>
                </c:pt>
                <c:pt idx="109">
                  <c:v>44389</c:v>
                </c:pt>
                <c:pt idx="110">
                  <c:v>44396</c:v>
                </c:pt>
                <c:pt idx="111">
                  <c:v>44403</c:v>
                </c:pt>
                <c:pt idx="112">
                  <c:v>44410</c:v>
                </c:pt>
                <c:pt idx="113">
                  <c:v>44417</c:v>
                </c:pt>
                <c:pt idx="114">
                  <c:v>44424</c:v>
                </c:pt>
                <c:pt idx="115">
                  <c:v>44431</c:v>
                </c:pt>
              </c:numCache>
            </c:numRef>
          </c:cat>
          <c:val>
            <c:numRef>
              <c:f>Sheet1!$B$2:$B$175</c:f>
              <c:numCache>
                <c:formatCode>#,##0</c:formatCode>
                <c:ptCount val="116"/>
                <c:pt idx="0">
                  <c:v>18705</c:v>
                </c:pt>
                <c:pt idx="1">
                  <c:v>20095</c:v>
                </c:pt>
                <c:pt idx="2">
                  <c:v>18123</c:v>
                </c:pt>
                <c:pt idx="3">
                  <c:v>15241</c:v>
                </c:pt>
                <c:pt idx="4">
                  <c:v>18547</c:v>
                </c:pt>
                <c:pt idx="5">
                  <c:v>21903</c:v>
                </c:pt>
                <c:pt idx="6">
                  <c:v>26370</c:v>
                </c:pt>
                <c:pt idx="7">
                  <c:v>28661</c:v>
                </c:pt>
                <c:pt idx="8">
                  <c:v>33628</c:v>
                </c:pt>
                <c:pt idx="9">
                  <c:v>33942</c:v>
                </c:pt>
                <c:pt idx="10">
                  <c:v>35421</c:v>
                </c:pt>
                <c:pt idx="11">
                  <c:v>40751</c:v>
                </c:pt>
                <c:pt idx="12">
                  <c:v>42006</c:v>
                </c:pt>
                <c:pt idx="13">
                  <c:v>44666</c:v>
                </c:pt>
                <c:pt idx="14">
                  <c:v>42550</c:v>
                </c:pt>
                <c:pt idx="15">
                  <c:v>44203</c:v>
                </c:pt>
                <c:pt idx="16">
                  <c:v>43044</c:v>
                </c:pt>
                <c:pt idx="17">
                  <c:v>30653</c:v>
                </c:pt>
                <c:pt idx="18">
                  <c:v>28977</c:v>
                </c:pt>
                <c:pt idx="19">
                  <c:v>29438</c:v>
                </c:pt>
                <c:pt idx="20">
                  <c:v>37462</c:v>
                </c:pt>
                <c:pt idx="21">
                  <c:v>28075</c:v>
                </c:pt>
                <c:pt idx="22">
                  <c:v>24085</c:v>
                </c:pt>
                <c:pt idx="23">
                  <c:v>23492</c:v>
                </c:pt>
                <c:pt idx="24">
                  <c:v>33347</c:v>
                </c:pt>
                <c:pt idx="25">
                  <c:v>37356</c:v>
                </c:pt>
                <c:pt idx="26">
                  <c:v>49361</c:v>
                </c:pt>
                <c:pt idx="27">
                  <c:v>50641</c:v>
                </c:pt>
                <c:pt idx="28">
                  <c:v>46316</c:v>
                </c:pt>
                <c:pt idx="29">
                  <c:v>46456</c:v>
                </c:pt>
                <c:pt idx="30">
                  <c:v>28796</c:v>
                </c:pt>
                <c:pt idx="31">
                  <c:v>29171</c:v>
                </c:pt>
                <c:pt idx="32">
                  <c:v>29478</c:v>
                </c:pt>
                <c:pt idx="33">
                  <c:v>28413</c:v>
                </c:pt>
                <c:pt idx="34">
                  <c:v>27706</c:v>
                </c:pt>
                <c:pt idx="35">
                  <c:v>31161</c:v>
                </c:pt>
                <c:pt idx="36">
                  <c:v>32095</c:v>
                </c:pt>
                <c:pt idx="37">
                  <c:v>32506</c:v>
                </c:pt>
                <c:pt idx="38">
                  <c:v>32281</c:v>
                </c:pt>
                <c:pt idx="39">
                  <c:v>26928</c:v>
                </c:pt>
                <c:pt idx="40">
                  <c:v>15219</c:v>
                </c:pt>
                <c:pt idx="41">
                  <c:v>5545</c:v>
                </c:pt>
                <c:pt idx="42">
                  <c:v>3210</c:v>
                </c:pt>
                <c:pt idx="43">
                  <c:v>2490</c:v>
                </c:pt>
                <c:pt idx="44">
                  <c:v>2328</c:v>
                </c:pt>
                <c:pt idx="45">
                  <c:v>2296</c:v>
                </c:pt>
                <c:pt idx="46">
                  <c:v>2279</c:v>
                </c:pt>
                <c:pt idx="47">
                  <c:v>2595</c:v>
                </c:pt>
                <c:pt idx="48">
                  <c:v>2772</c:v>
                </c:pt>
                <c:pt idx="49">
                  <c:v>3112</c:v>
                </c:pt>
                <c:pt idx="50">
                  <c:v>4004</c:v>
                </c:pt>
                <c:pt idx="51">
                  <c:v>5590</c:v>
                </c:pt>
                <c:pt idx="52">
                  <c:v>5989</c:v>
                </c:pt>
                <c:pt idx="53">
                  <c:v>7195</c:v>
                </c:pt>
                <c:pt idx="54">
                  <c:v>9303</c:v>
                </c:pt>
                <c:pt idx="55">
                  <c:v>9672</c:v>
                </c:pt>
                <c:pt idx="56">
                  <c:v>12235</c:v>
                </c:pt>
                <c:pt idx="57">
                  <c:v>13560</c:v>
                </c:pt>
                <c:pt idx="58">
                  <c:v>15931</c:v>
                </c:pt>
                <c:pt idx="59">
                  <c:v>20312</c:v>
                </c:pt>
                <c:pt idx="60">
                  <c:v>20975</c:v>
                </c:pt>
                <c:pt idx="61">
                  <c:v>21889</c:v>
                </c:pt>
                <c:pt idx="62">
                  <c:v>22669</c:v>
                </c:pt>
                <c:pt idx="63">
                  <c:v>30369</c:v>
                </c:pt>
                <c:pt idx="64">
                  <c:v>28735</c:v>
                </c:pt>
                <c:pt idx="65">
                  <c:v>29155</c:v>
                </c:pt>
                <c:pt idx="66">
                  <c:v>25976</c:v>
                </c:pt>
                <c:pt idx="67">
                  <c:v>32189</c:v>
                </c:pt>
                <c:pt idx="68">
                  <c:v>38032</c:v>
                </c:pt>
                <c:pt idx="69">
                  <c:v>34707</c:v>
                </c:pt>
                <c:pt idx="70">
                  <c:v>32356</c:v>
                </c:pt>
                <c:pt idx="71">
                  <c:v>24598</c:v>
                </c:pt>
                <c:pt idx="72">
                  <c:v>25024</c:v>
                </c:pt>
                <c:pt idx="73">
                  <c:v>14037</c:v>
                </c:pt>
                <c:pt idx="74">
                  <c:v>8835</c:v>
                </c:pt>
                <c:pt idx="75">
                  <c:v>6176</c:v>
                </c:pt>
                <c:pt idx="76">
                  <c:v>6169</c:v>
                </c:pt>
                <c:pt idx="77">
                  <c:v>11518</c:v>
                </c:pt>
                <c:pt idx="78">
                  <c:v>15653</c:v>
                </c:pt>
                <c:pt idx="79">
                  <c:v>11524</c:v>
                </c:pt>
                <c:pt idx="80">
                  <c:v>11850</c:v>
                </c:pt>
                <c:pt idx="81">
                  <c:v>9014</c:v>
                </c:pt>
                <c:pt idx="82">
                  <c:v>6477</c:v>
                </c:pt>
                <c:pt idx="83">
                  <c:v>5393</c:v>
                </c:pt>
                <c:pt idx="84">
                  <c:v>5036</c:v>
                </c:pt>
                <c:pt idx="85">
                  <c:v>5550</c:v>
                </c:pt>
                <c:pt idx="86">
                  <c:v>6838</c:v>
                </c:pt>
                <c:pt idx="87">
                  <c:v>9592</c:v>
                </c:pt>
                <c:pt idx="88">
                  <c:v>8089</c:v>
                </c:pt>
                <c:pt idx="89">
                  <c:v>7777</c:v>
                </c:pt>
                <c:pt idx="90">
                  <c:v>8580</c:v>
                </c:pt>
                <c:pt idx="91">
                  <c:v>8749</c:v>
                </c:pt>
                <c:pt idx="92">
                  <c:v>9747</c:v>
                </c:pt>
                <c:pt idx="93">
                  <c:v>11324</c:v>
                </c:pt>
                <c:pt idx="94">
                  <c:v>16701</c:v>
                </c:pt>
                <c:pt idx="95">
                  <c:v>16647</c:v>
                </c:pt>
                <c:pt idx="96">
                  <c:v>20668</c:v>
                </c:pt>
                <c:pt idx="97">
                  <c:v>19697</c:v>
                </c:pt>
                <c:pt idx="98">
                  <c:v>21174</c:v>
                </c:pt>
                <c:pt idx="99">
                  <c:v>20523</c:v>
                </c:pt>
                <c:pt idx="100">
                  <c:v>22815</c:v>
                </c:pt>
                <c:pt idx="101">
                  <c:v>30985</c:v>
                </c:pt>
                <c:pt idx="102">
                  <c:v>36885</c:v>
                </c:pt>
                <c:pt idx="103">
                  <c:v>34128</c:v>
                </c:pt>
                <c:pt idx="104">
                  <c:v>31756</c:v>
                </c:pt>
                <c:pt idx="105">
                  <c:v>35413</c:v>
                </c:pt>
                <c:pt idx="106">
                  <c:v>36953</c:v>
                </c:pt>
                <c:pt idx="107">
                  <c:v>38833</c:v>
                </c:pt>
                <c:pt idx="108">
                  <c:v>37829</c:v>
                </c:pt>
                <c:pt idx="109">
                  <c:v>36447</c:v>
                </c:pt>
                <c:pt idx="110">
                  <c:v>40866</c:v>
                </c:pt>
                <c:pt idx="111">
                  <c:v>38132</c:v>
                </c:pt>
                <c:pt idx="112">
                  <c:v>38484</c:v>
                </c:pt>
                <c:pt idx="113">
                  <c:v>35839</c:v>
                </c:pt>
                <c:pt idx="114">
                  <c:v>35518</c:v>
                </c:pt>
                <c:pt idx="115">
                  <c:v>3852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17B6-4818-925F-A1C544F085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7514272"/>
        <c:axId val="277514832"/>
      </c:lineChart>
      <c:dateAx>
        <c:axId val="277514272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7514832"/>
        <c:crossesAt val="0"/>
        <c:auto val="0"/>
        <c:lblOffset val="100"/>
        <c:baseTimeUnit val="days"/>
      </c:dateAx>
      <c:valAx>
        <c:axId val="2775148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/>
                  <a:t>Decomps</a:t>
                </a:r>
              </a:p>
            </c:rich>
          </c:tx>
          <c:layout>
            <c:manualLayout>
              <c:xMode val="edge"/>
              <c:yMode val="edge"/>
              <c:x val="3.8435345703054992E-2"/>
              <c:y val="0.386098261534172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7514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4566920620368594E-2"/>
          <c:y val="0.94683576575594519"/>
          <c:w val="0.89999998122893765"/>
          <c:h val="4.55992122846425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E043A699-8B92-4F04-BAAC-BF9088F98EAA}"/>
              </a:ext>
            </a:extLst>
          </p:cNvPr>
          <p:cNvGrpSpPr/>
          <p:nvPr/>
        </p:nvGrpSpPr>
        <p:grpSpPr>
          <a:xfrm>
            <a:off x="0" y="461667"/>
            <a:ext cx="12192000" cy="6106374"/>
            <a:chOff x="0" y="461667"/>
            <a:chExt cx="12192000" cy="610637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EFD77E8-E15B-487E-AE5B-D40041C1D5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3447" r="1762"/>
            <a:stretch/>
          </p:blipFill>
          <p:spPr>
            <a:xfrm>
              <a:off x="0" y="461667"/>
              <a:ext cx="12192000" cy="6106374"/>
            </a:xfrm>
            <a:prstGeom prst="rect">
              <a:avLst/>
            </a:prstGeom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CF8F1B5-5541-49CF-8703-F2B1647505A2}"/>
                </a:ext>
              </a:extLst>
            </p:cNvPr>
            <p:cNvGrpSpPr/>
            <p:nvPr/>
          </p:nvGrpSpPr>
          <p:grpSpPr>
            <a:xfrm>
              <a:off x="6927850" y="3673475"/>
              <a:ext cx="1454150" cy="1037420"/>
              <a:chOff x="6927850" y="3673475"/>
              <a:chExt cx="1454150" cy="1037420"/>
            </a:xfrm>
          </p:grpSpPr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3DC51101-3F48-4312-9796-734AC4321935}"/>
                  </a:ext>
                </a:extLst>
              </p:cNvPr>
              <p:cNvCxnSpPr/>
              <p:nvPr/>
            </p:nvCxnSpPr>
            <p:spPr>
              <a:xfrm>
                <a:off x="7385050" y="3673475"/>
                <a:ext cx="996950" cy="349250"/>
              </a:xfrm>
              <a:prstGeom prst="line">
                <a:avLst/>
              </a:prstGeom>
              <a:ln w="1016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59AFFB9B-EACD-4089-8CF8-25F1D0C52D3F}"/>
                  </a:ext>
                </a:extLst>
              </p:cNvPr>
              <p:cNvCxnSpPr/>
              <p:nvPr/>
            </p:nvCxnSpPr>
            <p:spPr>
              <a:xfrm>
                <a:off x="7156450" y="4017560"/>
                <a:ext cx="996950" cy="349250"/>
              </a:xfrm>
              <a:prstGeom prst="line">
                <a:avLst/>
              </a:prstGeom>
              <a:ln w="1016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C3B04991-8614-4BE9-970E-F6E4E96DBA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927850" y="4192185"/>
                <a:ext cx="1282700" cy="518710"/>
              </a:xfrm>
              <a:prstGeom prst="line">
                <a:avLst/>
              </a:prstGeom>
              <a:ln w="1016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18CA633A-6208-44A6-B687-DDD71F301BC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l="63275" t="71109" r="32107" b="24468"/>
              <a:stretch/>
            </p:blipFill>
            <p:spPr>
              <a:xfrm>
                <a:off x="6994525" y="4229827"/>
                <a:ext cx="573087" cy="312066"/>
              </a:xfrm>
              <a:prstGeom prst="rect">
                <a:avLst/>
              </a:prstGeom>
            </p:spPr>
          </p:pic>
        </p:grpSp>
      </p:grpSp>
      <p:pic>
        <p:nvPicPr>
          <p:cNvPr id="14" name="Picture 2" descr="\\SONY\Users\Nivas\Desktop\analytic-edge\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9990" y="5782322"/>
            <a:ext cx="2360060" cy="794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A30AC978-D681-4808-827B-66F98781BAAE}"/>
              </a:ext>
            </a:extLst>
          </p:cNvPr>
          <p:cNvSpPr/>
          <p:nvPr/>
        </p:nvSpPr>
        <p:spPr>
          <a:xfrm>
            <a:off x="275169" y="4993671"/>
            <a:ext cx="1265085" cy="12387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Picture 6" descr="Facebook logo and symbol, meaning, history, PNG">
            <a:extLst>
              <a:ext uri="{FF2B5EF4-FFF2-40B4-BE49-F238E27FC236}">
                <a16:creationId xmlns:a16="http://schemas.microsoft.com/office/drawing/2014/main" id="{D6953F64-2EF5-4652-8143-A50399F0EB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977637"/>
            <a:ext cx="1815423" cy="1270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A8842A9-4D89-40E8-96D5-16CEDD38FD0D}"/>
              </a:ext>
            </a:extLst>
          </p:cNvPr>
          <p:cNvSpPr/>
          <p:nvPr/>
        </p:nvSpPr>
        <p:spPr>
          <a:xfrm>
            <a:off x="374754" y="2788783"/>
            <a:ext cx="5321508" cy="1558977"/>
          </a:xfrm>
          <a:prstGeom prst="rect">
            <a:avLst/>
          </a:prstGeom>
          <a:solidFill>
            <a:srgbClr val="D9FD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1" name="Picture 2" descr="Bolt (company) - Wikipedia">
            <a:extLst>
              <a:ext uri="{FF2B5EF4-FFF2-40B4-BE49-F238E27FC236}">
                <a16:creationId xmlns:a16="http://schemas.microsoft.com/office/drawing/2014/main" id="{5BF01644-6B3F-4D75-9ED5-A34D61AD66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100" y="475343"/>
            <a:ext cx="1461222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658E854F-6C5D-48B8-A6A9-1498C48ED306}"/>
              </a:ext>
            </a:extLst>
          </p:cNvPr>
          <p:cNvGrpSpPr/>
          <p:nvPr userDrawn="1"/>
        </p:nvGrpSpPr>
        <p:grpSpPr>
          <a:xfrm>
            <a:off x="0" y="461667"/>
            <a:ext cx="12192000" cy="6106374"/>
            <a:chOff x="0" y="461667"/>
            <a:chExt cx="12192000" cy="6106374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CFEF5FA-D41E-46F2-9A4A-565F1EFF4E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13447" r="1762"/>
            <a:stretch/>
          </p:blipFill>
          <p:spPr>
            <a:xfrm>
              <a:off x="0" y="461667"/>
              <a:ext cx="12192000" cy="6106374"/>
            </a:xfrm>
            <a:prstGeom prst="rect">
              <a:avLst/>
            </a:prstGeom>
          </p:spPr>
        </p:pic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E67E8981-2868-428D-8E0D-B02F448D83A3}"/>
                </a:ext>
              </a:extLst>
            </p:cNvPr>
            <p:cNvGrpSpPr/>
            <p:nvPr userDrawn="1"/>
          </p:nvGrpSpPr>
          <p:grpSpPr>
            <a:xfrm>
              <a:off x="6927850" y="3673475"/>
              <a:ext cx="1454150" cy="1037420"/>
              <a:chOff x="6927850" y="3673475"/>
              <a:chExt cx="1454150" cy="1037420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9B74F7A5-09A2-4558-BEF7-CC0457243DCD}"/>
                  </a:ext>
                </a:extLst>
              </p:cNvPr>
              <p:cNvCxnSpPr/>
              <p:nvPr userDrawn="1"/>
            </p:nvCxnSpPr>
            <p:spPr>
              <a:xfrm>
                <a:off x="7385050" y="3673475"/>
                <a:ext cx="996950" cy="349250"/>
              </a:xfrm>
              <a:prstGeom prst="line">
                <a:avLst/>
              </a:prstGeom>
              <a:ln w="1016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2AD8A211-87E8-4D88-B2D0-F85F2B0B83B1}"/>
                  </a:ext>
                </a:extLst>
              </p:cNvPr>
              <p:cNvCxnSpPr/>
              <p:nvPr userDrawn="1"/>
            </p:nvCxnSpPr>
            <p:spPr>
              <a:xfrm>
                <a:off x="7156450" y="4017560"/>
                <a:ext cx="996950" cy="349250"/>
              </a:xfrm>
              <a:prstGeom prst="line">
                <a:avLst/>
              </a:prstGeom>
              <a:ln w="1016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48DD9778-669F-4F78-AC45-35D05E6E1D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27850" y="4192185"/>
                <a:ext cx="1282700" cy="518710"/>
              </a:xfrm>
              <a:prstGeom prst="line">
                <a:avLst/>
              </a:prstGeom>
              <a:ln w="1016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E9DF1A30-25E9-45A7-8DA1-7F741204C15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l="63275" t="71109" r="32107" b="24468"/>
              <a:stretch/>
            </p:blipFill>
            <p:spPr>
              <a:xfrm>
                <a:off x="6994525" y="4229827"/>
                <a:ext cx="573087" cy="312066"/>
              </a:xfrm>
              <a:prstGeom prst="rect">
                <a:avLst/>
              </a:prstGeom>
            </p:spPr>
          </p:pic>
        </p:grpSp>
      </p:grpSp>
      <p:pic>
        <p:nvPicPr>
          <p:cNvPr id="28" name="Picture 2" descr="\\SONY\Users\Nivas\Desktop\analytic-edge\logo.png">
            <a:extLst>
              <a:ext uri="{FF2B5EF4-FFF2-40B4-BE49-F238E27FC236}">
                <a16:creationId xmlns:a16="http://schemas.microsoft.com/office/drawing/2014/main" id="{66773F4B-FDBF-4616-9045-E67ECDBF573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9990" y="5782322"/>
            <a:ext cx="2360060" cy="794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6FBC16E1-726D-4C0C-8ADE-BC525A48E78F}"/>
              </a:ext>
            </a:extLst>
          </p:cNvPr>
          <p:cNvSpPr/>
          <p:nvPr userDrawn="1"/>
        </p:nvSpPr>
        <p:spPr>
          <a:xfrm>
            <a:off x="275169" y="4993671"/>
            <a:ext cx="1265085" cy="12387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" name="Picture 6" descr="Facebook logo and symbol, meaning, history, PNG">
            <a:extLst>
              <a:ext uri="{FF2B5EF4-FFF2-40B4-BE49-F238E27FC236}">
                <a16:creationId xmlns:a16="http://schemas.microsoft.com/office/drawing/2014/main" id="{0D15B325-A6A0-4F8C-981D-75B5B553FF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977637"/>
            <a:ext cx="1815423" cy="1270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A4C5E9B6-628B-4C31-A671-0402F1BE48EC}"/>
              </a:ext>
            </a:extLst>
          </p:cNvPr>
          <p:cNvSpPr/>
          <p:nvPr userDrawn="1"/>
        </p:nvSpPr>
        <p:spPr>
          <a:xfrm>
            <a:off x="374754" y="2788783"/>
            <a:ext cx="5321508" cy="1558977"/>
          </a:xfrm>
          <a:prstGeom prst="rect">
            <a:avLst/>
          </a:prstGeom>
          <a:solidFill>
            <a:srgbClr val="D9FD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32" name="Picture 2" descr="Bolt (company) - Wikipedia">
            <a:extLst>
              <a:ext uri="{FF2B5EF4-FFF2-40B4-BE49-F238E27FC236}">
                <a16:creationId xmlns:a16="http://schemas.microsoft.com/office/drawing/2014/main" id="{0687B946-440F-4226-AA5E-A1FF86A20A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100" y="475343"/>
            <a:ext cx="1461222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11660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>
            <a:extLst>
              <a:ext uri="{FF2B5EF4-FFF2-40B4-BE49-F238E27FC236}">
                <a16:creationId xmlns:a16="http://schemas.microsoft.com/office/drawing/2014/main" id="{1858899B-9078-44C7-AFE2-BCE088FBB5F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70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2">
            <a:extLst>
              <a:ext uri="{FF2B5EF4-FFF2-40B4-BE49-F238E27FC236}">
                <a16:creationId xmlns:a16="http://schemas.microsoft.com/office/drawing/2014/main" id="{46F3D7DC-458E-4AF0-958E-BCB167E20295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454987D-08E0-4D91-B4F2-E87FBBFA3DBA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011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>
            <a:extLst>
              <a:ext uri="{FF2B5EF4-FFF2-40B4-BE49-F238E27FC236}">
                <a16:creationId xmlns:a16="http://schemas.microsoft.com/office/drawing/2014/main" id="{63210EC0-7E8B-4AAB-8F3E-60EF6FFC19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2">
            <a:extLst>
              <a:ext uri="{FF2B5EF4-FFF2-40B4-BE49-F238E27FC236}">
                <a16:creationId xmlns:a16="http://schemas.microsoft.com/office/drawing/2014/main" id="{46F3D7DC-458E-4AF0-958E-BCB167E20295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454987D-08E0-4D91-B4F2-E87FBBFA3DBA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96582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>
            <a:extLst>
              <a:ext uri="{FF2B5EF4-FFF2-40B4-BE49-F238E27FC236}">
                <a16:creationId xmlns:a16="http://schemas.microsoft.com/office/drawing/2014/main" id="{C4B3391D-6E0B-4160-ABE2-9D0E82E645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2">
            <a:extLst>
              <a:ext uri="{FF2B5EF4-FFF2-40B4-BE49-F238E27FC236}">
                <a16:creationId xmlns:a16="http://schemas.microsoft.com/office/drawing/2014/main" id="{46F3D7DC-458E-4AF0-958E-BCB167E20295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454987D-08E0-4D91-B4F2-E87FBBFA3DBA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91591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>
            <a:extLst>
              <a:ext uri="{FF2B5EF4-FFF2-40B4-BE49-F238E27FC236}">
                <a16:creationId xmlns:a16="http://schemas.microsoft.com/office/drawing/2014/main" id="{131DA897-EF77-49B3-BDED-B669B305613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70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2">
            <a:extLst>
              <a:ext uri="{FF2B5EF4-FFF2-40B4-BE49-F238E27FC236}">
                <a16:creationId xmlns:a16="http://schemas.microsoft.com/office/drawing/2014/main" id="{46F3D7DC-458E-4AF0-958E-BCB167E20295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454987D-08E0-4D91-B4F2-E87FBBFA3DBA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16688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Bolt | Fast and Affordable Rides">
            <a:extLst>
              <a:ext uri="{FF2B5EF4-FFF2-40B4-BE49-F238E27FC236}">
                <a16:creationId xmlns:a16="http://schemas.microsoft.com/office/drawing/2014/main" id="{E1A700A8-4036-4858-9357-50302A568E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Bolt | Fast and Affordable Rides">
            <a:extLst>
              <a:ext uri="{FF2B5EF4-FFF2-40B4-BE49-F238E27FC236}">
                <a16:creationId xmlns:a16="http://schemas.microsoft.com/office/drawing/2014/main" id="{4FB77391-1BE0-4CEA-B7A0-6E6CEDFEAF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90863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1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195" y="147136"/>
            <a:ext cx="10216809" cy="78638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nalytic Edge Proprietary and Confidentia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05BF4-D562-44BF-BA5C-F9CA4C0FE9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195" y="1053170"/>
            <a:ext cx="10623418" cy="396000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spcBef>
                <a:spcPts val="594"/>
              </a:spcBef>
              <a:defRPr lang="en-GB" b="1" dirty="0"/>
            </a:lvl1pPr>
          </a:lstStyle>
          <a:p>
            <a:pPr lvl="0">
              <a:spcBef>
                <a:spcPts val="594"/>
              </a:spcBef>
            </a:pPr>
            <a:r>
              <a:rPr lang="en-US"/>
              <a:t>Click to add subtit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7640" y="1569036"/>
            <a:ext cx="10623418" cy="4389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03BAA4A6-07CF-43B8-B2EE-4F2BC4F7917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87640" y="6021389"/>
            <a:ext cx="1062341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/>
              <a:t>Notes:</a:t>
            </a:r>
          </a:p>
        </p:txBody>
      </p:sp>
      <p:sp>
        <p:nvSpPr>
          <p:cNvPr id="16" name="Content Placeholder 9">
            <a:extLst>
              <a:ext uri="{FF2B5EF4-FFF2-40B4-BE49-F238E27FC236}">
                <a16:creationId xmlns:a16="http://schemas.microsoft.com/office/drawing/2014/main" id="{A75651F7-9FE4-4CA6-BB6F-3D99DE57C45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87640" y="6311902"/>
            <a:ext cx="10623418" cy="231774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97599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026290" y="164815"/>
            <a:ext cx="10093049" cy="781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rgbClr val="E3061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A7631B4-031E-4E9C-904A-FDAA77D8772D}"/>
              </a:ext>
            </a:extLst>
          </p:cNvPr>
          <p:cNvGrpSpPr/>
          <p:nvPr userDrawn="1"/>
        </p:nvGrpSpPr>
        <p:grpSpPr>
          <a:xfrm>
            <a:off x="11085326" y="137746"/>
            <a:ext cx="1087187" cy="883335"/>
            <a:chOff x="10977375" y="137745"/>
            <a:chExt cx="1166440" cy="957326"/>
          </a:xfrm>
        </p:grpSpPr>
        <p:pic>
          <p:nvPicPr>
            <p:cNvPr id="18" name="Picture 2" descr="\\SONY\Users\Nivas\Desktop\analytic-edge\logo.png">
              <a:extLst>
                <a:ext uri="{FF2B5EF4-FFF2-40B4-BE49-F238E27FC236}">
                  <a16:creationId xmlns:a16="http://schemas.microsoft.com/office/drawing/2014/main" id="{BCF27C50-DEA2-424A-9413-590FF176E7E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EA520A3F-0138-4D2A-A1D1-EB55C3757CD1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31" name="Rectangle 1">
                <a:extLst>
                  <a:ext uri="{FF2B5EF4-FFF2-40B4-BE49-F238E27FC236}">
                    <a16:creationId xmlns:a16="http://schemas.microsoft.com/office/drawing/2014/main" id="{A93A369D-10FE-4FAB-94CC-569AF6E4219F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0"/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AEBF839C-7FE3-46CA-9753-1B1FCC7AB3AA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33" name="Freeform 10">
                  <a:extLst>
                    <a:ext uri="{FF2B5EF4-FFF2-40B4-BE49-F238E27FC236}">
                      <a16:creationId xmlns:a16="http://schemas.microsoft.com/office/drawing/2014/main" id="{68752C36-A713-47D5-925E-B6CB77B4D208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4" name="Freeform 11">
                  <a:extLst>
                    <a:ext uri="{FF2B5EF4-FFF2-40B4-BE49-F238E27FC236}">
                      <a16:creationId xmlns:a16="http://schemas.microsoft.com/office/drawing/2014/main" id="{E2B0347B-1377-48B4-9FE0-6657C5DAB7E1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FCF5E662-C7D3-438F-AC53-C1C8EC7E06C2}"/>
              </a:ext>
            </a:extLst>
          </p:cNvPr>
          <p:cNvSpPr/>
          <p:nvPr userDrawn="1"/>
        </p:nvSpPr>
        <p:spPr>
          <a:xfrm rot="16200000">
            <a:off x="5963534" y="629534"/>
            <a:ext cx="264934" cy="12192001"/>
          </a:xfrm>
          <a:prstGeom prst="rtTriangle">
            <a:avLst/>
          </a:prstGeom>
          <a:solidFill>
            <a:srgbClr val="45B8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19141" y="6640767"/>
            <a:ext cx="581906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6F83D20-4F50-4713-9AD7-08B4A11C9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370569" y="6640767"/>
            <a:ext cx="2558540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pPr algn="l"/>
            <a:r>
              <a:rPr lang="en-US"/>
              <a:t>© Analytic Edge Proprietary and Confidential</a:t>
            </a:r>
          </a:p>
        </p:txBody>
      </p:sp>
      <p:pic>
        <p:nvPicPr>
          <p:cNvPr id="1026" name="Picture 2" descr="Joom. Shopping for every day. - Apps on Google Play">
            <a:extLst>
              <a:ext uri="{FF2B5EF4-FFF2-40B4-BE49-F238E27FC236}">
                <a16:creationId xmlns:a16="http://schemas.microsoft.com/office/drawing/2014/main" id="{46455B59-0241-481B-86FD-3427937CFCA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026291" cy="101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1632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 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0">
            <a:extLst>
              <a:ext uri="{FF2B5EF4-FFF2-40B4-BE49-F238E27FC236}">
                <a16:creationId xmlns:a16="http://schemas.microsoft.com/office/drawing/2014/main" id="{ABA5352C-37F8-448A-BE6A-BF5F0C61D13E}"/>
              </a:ext>
            </a:extLst>
          </p:cNvPr>
          <p:cNvSpPr/>
          <p:nvPr userDrawn="1"/>
        </p:nvSpPr>
        <p:spPr>
          <a:xfrm>
            <a:off x="0" y="-19049"/>
            <a:ext cx="8401050" cy="6877049"/>
          </a:xfrm>
          <a:custGeom>
            <a:avLst/>
            <a:gdLst>
              <a:gd name="connsiteX0" fmla="*/ 0 w 3124200"/>
              <a:gd name="connsiteY0" fmla="*/ 0 h 5513219"/>
              <a:gd name="connsiteX1" fmla="*/ 3124200 w 3124200"/>
              <a:gd name="connsiteY1" fmla="*/ 0 h 5513219"/>
              <a:gd name="connsiteX2" fmla="*/ 3124200 w 3124200"/>
              <a:gd name="connsiteY2" fmla="*/ 5513219 h 5513219"/>
              <a:gd name="connsiteX3" fmla="*/ 0 w 3124200"/>
              <a:gd name="connsiteY3" fmla="*/ 5513219 h 5513219"/>
              <a:gd name="connsiteX4" fmla="*/ 0 w 3124200"/>
              <a:gd name="connsiteY4" fmla="*/ 0 h 5513219"/>
              <a:gd name="connsiteX0" fmla="*/ 171450 w 3295650"/>
              <a:gd name="connsiteY0" fmla="*/ 0 h 5513219"/>
              <a:gd name="connsiteX1" fmla="*/ 0 w 3295650"/>
              <a:gd name="connsiteY1" fmla="*/ 457200 h 5513219"/>
              <a:gd name="connsiteX2" fmla="*/ 3295650 w 3295650"/>
              <a:gd name="connsiteY2" fmla="*/ 5513219 h 5513219"/>
              <a:gd name="connsiteX3" fmla="*/ 171450 w 3295650"/>
              <a:gd name="connsiteY3" fmla="*/ 5513219 h 5513219"/>
              <a:gd name="connsiteX4" fmla="*/ 171450 w 3295650"/>
              <a:gd name="connsiteY4" fmla="*/ 0 h 5513219"/>
              <a:gd name="connsiteX0" fmla="*/ 171450 w 3543300"/>
              <a:gd name="connsiteY0" fmla="*/ 0 h 5513219"/>
              <a:gd name="connsiteX1" fmla="*/ 0 w 3543300"/>
              <a:gd name="connsiteY1" fmla="*/ 457200 h 5513219"/>
              <a:gd name="connsiteX2" fmla="*/ 3543300 w 3543300"/>
              <a:gd name="connsiteY2" fmla="*/ 5456069 h 5513219"/>
              <a:gd name="connsiteX3" fmla="*/ 171450 w 3543300"/>
              <a:gd name="connsiteY3" fmla="*/ 5513219 h 5513219"/>
              <a:gd name="connsiteX4" fmla="*/ 171450 w 3543300"/>
              <a:gd name="connsiteY4" fmla="*/ 0 h 5513219"/>
              <a:gd name="connsiteX0" fmla="*/ 171450 w 3492500"/>
              <a:gd name="connsiteY0" fmla="*/ 0 h 5513219"/>
              <a:gd name="connsiteX1" fmla="*/ 0 w 3492500"/>
              <a:gd name="connsiteY1" fmla="*/ 457200 h 5513219"/>
              <a:gd name="connsiteX2" fmla="*/ 3492500 w 3492500"/>
              <a:gd name="connsiteY2" fmla="*/ 5481469 h 5513219"/>
              <a:gd name="connsiteX3" fmla="*/ 171450 w 3492500"/>
              <a:gd name="connsiteY3" fmla="*/ 5513219 h 5513219"/>
              <a:gd name="connsiteX4" fmla="*/ 171450 w 3492500"/>
              <a:gd name="connsiteY4" fmla="*/ 0 h 5513219"/>
              <a:gd name="connsiteX0" fmla="*/ 171450 w 3505200"/>
              <a:gd name="connsiteY0" fmla="*/ 0 h 5513219"/>
              <a:gd name="connsiteX1" fmla="*/ 0 w 3505200"/>
              <a:gd name="connsiteY1" fmla="*/ 457200 h 5513219"/>
              <a:gd name="connsiteX2" fmla="*/ 3505200 w 3505200"/>
              <a:gd name="connsiteY2" fmla="*/ 5506869 h 5513219"/>
              <a:gd name="connsiteX3" fmla="*/ 171450 w 3505200"/>
              <a:gd name="connsiteY3" fmla="*/ 5513219 h 5513219"/>
              <a:gd name="connsiteX4" fmla="*/ 171450 w 3505200"/>
              <a:gd name="connsiteY4" fmla="*/ 0 h 5513219"/>
              <a:gd name="connsiteX0" fmla="*/ 171450 w 3505200"/>
              <a:gd name="connsiteY0" fmla="*/ 5056019 h 5056019"/>
              <a:gd name="connsiteX1" fmla="*/ 0 w 3505200"/>
              <a:gd name="connsiteY1" fmla="*/ 0 h 5056019"/>
              <a:gd name="connsiteX2" fmla="*/ 3505200 w 3505200"/>
              <a:gd name="connsiteY2" fmla="*/ 5049669 h 5056019"/>
              <a:gd name="connsiteX3" fmla="*/ 171450 w 3505200"/>
              <a:gd name="connsiteY3" fmla="*/ 5056019 h 5056019"/>
              <a:gd name="connsiteX0" fmla="*/ 69850 w 3403600"/>
              <a:gd name="connsiteY0" fmla="*/ 4344819 h 4344819"/>
              <a:gd name="connsiteX1" fmla="*/ 0 w 3403600"/>
              <a:gd name="connsiteY1" fmla="*/ 0 h 4344819"/>
              <a:gd name="connsiteX2" fmla="*/ 3403600 w 3403600"/>
              <a:gd name="connsiteY2" fmla="*/ 4338469 h 4344819"/>
              <a:gd name="connsiteX3" fmla="*/ 69850 w 3403600"/>
              <a:gd name="connsiteY3" fmla="*/ 4344819 h 4344819"/>
              <a:gd name="connsiteX0" fmla="*/ 69850 w 3530600"/>
              <a:gd name="connsiteY0" fmla="*/ 4344819 h 4344819"/>
              <a:gd name="connsiteX1" fmla="*/ 0 w 3530600"/>
              <a:gd name="connsiteY1" fmla="*/ 0 h 4344819"/>
              <a:gd name="connsiteX2" fmla="*/ 3530600 w 3530600"/>
              <a:gd name="connsiteY2" fmla="*/ 4338469 h 4344819"/>
              <a:gd name="connsiteX3" fmla="*/ 69850 w 3530600"/>
              <a:gd name="connsiteY3" fmla="*/ 4344819 h 4344819"/>
              <a:gd name="connsiteX0" fmla="*/ 5068 w 3530600"/>
              <a:gd name="connsiteY0" fmla="*/ 4344819 h 4344819"/>
              <a:gd name="connsiteX1" fmla="*/ 0 w 3530600"/>
              <a:gd name="connsiteY1" fmla="*/ 0 h 4344819"/>
              <a:gd name="connsiteX2" fmla="*/ 3530600 w 3530600"/>
              <a:gd name="connsiteY2" fmla="*/ 4338469 h 4344819"/>
              <a:gd name="connsiteX3" fmla="*/ 5068 w 3530600"/>
              <a:gd name="connsiteY3" fmla="*/ 4344819 h 4344819"/>
              <a:gd name="connsiteX0" fmla="*/ 5068 w 3530600"/>
              <a:gd name="connsiteY0" fmla="*/ 4344819 h 4344819"/>
              <a:gd name="connsiteX1" fmla="*/ 0 w 3530600"/>
              <a:gd name="connsiteY1" fmla="*/ 0 h 4344819"/>
              <a:gd name="connsiteX2" fmla="*/ 1163848 w 3530600"/>
              <a:gd name="connsiteY2" fmla="*/ 555171 h 4344819"/>
              <a:gd name="connsiteX3" fmla="*/ 3530600 w 3530600"/>
              <a:gd name="connsiteY3" fmla="*/ 4338469 h 4344819"/>
              <a:gd name="connsiteX4" fmla="*/ 5068 w 3530600"/>
              <a:gd name="connsiteY4" fmla="*/ 4344819 h 4344819"/>
              <a:gd name="connsiteX0" fmla="*/ 5068 w 3530600"/>
              <a:gd name="connsiteY0" fmla="*/ 4436769 h 4436769"/>
              <a:gd name="connsiteX1" fmla="*/ 0 w 3530600"/>
              <a:gd name="connsiteY1" fmla="*/ 91950 h 4436769"/>
              <a:gd name="connsiteX2" fmla="*/ 1179470 w 3530600"/>
              <a:gd name="connsiteY2" fmla="*/ 176433 h 4436769"/>
              <a:gd name="connsiteX3" fmla="*/ 3530600 w 3530600"/>
              <a:gd name="connsiteY3" fmla="*/ 4430419 h 4436769"/>
              <a:gd name="connsiteX4" fmla="*/ 5068 w 3530600"/>
              <a:gd name="connsiteY4" fmla="*/ 4436769 h 4436769"/>
              <a:gd name="connsiteX0" fmla="*/ 5068 w 3530600"/>
              <a:gd name="connsiteY0" fmla="*/ 4344819 h 4344819"/>
              <a:gd name="connsiteX1" fmla="*/ 0 w 3530600"/>
              <a:gd name="connsiteY1" fmla="*/ 0 h 4344819"/>
              <a:gd name="connsiteX2" fmla="*/ 1179470 w 3530600"/>
              <a:gd name="connsiteY2" fmla="*/ 84483 h 4344819"/>
              <a:gd name="connsiteX3" fmla="*/ 3530600 w 3530600"/>
              <a:gd name="connsiteY3" fmla="*/ 4338469 h 4344819"/>
              <a:gd name="connsiteX4" fmla="*/ 5068 w 3530600"/>
              <a:gd name="connsiteY4" fmla="*/ 4344819 h 4344819"/>
              <a:gd name="connsiteX0" fmla="*/ 5068 w 3530600"/>
              <a:gd name="connsiteY0" fmla="*/ 4344819 h 4344819"/>
              <a:gd name="connsiteX1" fmla="*/ 0 w 3530600"/>
              <a:gd name="connsiteY1" fmla="*/ 0 h 4344819"/>
              <a:gd name="connsiteX2" fmla="*/ 1132604 w 3530600"/>
              <a:gd name="connsiteY2" fmla="*/ 1 h 4344819"/>
              <a:gd name="connsiteX3" fmla="*/ 3530600 w 3530600"/>
              <a:gd name="connsiteY3" fmla="*/ 4338469 h 4344819"/>
              <a:gd name="connsiteX4" fmla="*/ 5068 w 3530600"/>
              <a:gd name="connsiteY4" fmla="*/ 4344819 h 4344819"/>
              <a:gd name="connsiteX0" fmla="*/ 5068 w 3530600"/>
              <a:gd name="connsiteY0" fmla="*/ 4344819 h 4344819"/>
              <a:gd name="connsiteX1" fmla="*/ 0 w 3530600"/>
              <a:gd name="connsiteY1" fmla="*/ 0 h 4344819"/>
              <a:gd name="connsiteX2" fmla="*/ 2493606 w 3530600"/>
              <a:gd name="connsiteY2" fmla="*/ 108622 h 4344819"/>
              <a:gd name="connsiteX3" fmla="*/ 3530600 w 3530600"/>
              <a:gd name="connsiteY3" fmla="*/ 4338469 h 4344819"/>
              <a:gd name="connsiteX4" fmla="*/ 5068 w 3530600"/>
              <a:gd name="connsiteY4" fmla="*/ 4344819 h 4344819"/>
              <a:gd name="connsiteX0" fmla="*/ 5068 w 3530600"/>
              <a:gd name="connsiteY0" fmla="*/ 4356887 h 4356887"/>
              <a:gd name="connsiteX1" fmla="*/ 0 w 3530600"/>
              <a:gd name="connsiteY1" fmla="*/ 12068 h 4356887"/>
              <a:gd name="connsiteX2" fmla="*/ 1156622 w 3530600"/>
              <a:gd name="connsiteY2" fmla="*/ 0 h 4356887"/>
              <a:gd name="connsiteX3" fmla="*/ 3530600 w 3530600"/>
              <a:gd name="connsiteY3" fmla="*/ 4350537 h 4356887"/>
              <a:gd name="connsiteX4" fmla="*/ 5068 w 3530600"/>
              <a:gd name="connsiteY4" fmla="*/ 4356887 h 4356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0600" h="4356887">
                <a:moveTo>
                  <a:pt x="5068" y="4356887"/>
                </a:moveTo>
                <a:cubicBezTo>
                  <a:pt x="3379" y="2908614"/>
                  <a:pt x="1689" y="1460341"/>
                  <a:pt x="0" y="12068"/>
                </a:cubicBezTo>
                <a:lnTo>
                  <a:pt x="1156622" y="0"/>
                </a:lnTo>
                <a:lnTo>
                  <a:pt x="3530600" y="4350537"/>
                </a:lnTo>
                <a:lnTo>
                  <a:pt x="5068" y="4356887"/>
                </a:lnTo>
                <a:close/>
              </a:path>
            </a:pathLst>
          </a:custGeom>
          <a:solidFill>
            <a:srgbClr val="34D1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pic>
        <p:nvPicPr>
          <p:cNvPr id="42" name="Picture 6" descr="Online Cab Booking App Development | Get An App Like Bolt, Taxify">
            <a:extLst>
              <a:ext uri="{FF2B5EF4-FFF2-40B4-BE49-F238E27FC236}">
                <a16:creationId xmlns:a16="http://schemas.microsoft.com/office/drawing/2014/main" id="{D260AE1D-47CF-4A97-824C-65DA08C708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3950" y="2091058"/>
            <a:ext cx="7258050" cy="485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Oval 33">
            <a:extLst>
              <a:ext uri="{FF2B5EF4-FFF2-40B4-BE49-F238E27FC236}">
                <a16:creationId xmlns:a16="http://schemas.microsoft.com/office/drawing/2014/main" id="{4C0AEEAC-8B0A-47C9-BA2C-2C1FBEF22E2A}"/>
              </a:ext>
            </a:extLst>
          </p:cNvPr>
          <p:cNvSpPr/>
          <p:nvPr userDrawn="1"/>
        </p:nvSpPr>
        <p:spPr>
          <a:xfrm>
            <a:off x="5039138" y="2658356"/>
            <a:ext cx="1256516" cy="125651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0242" name="Picture 2" descr="BOLT LAUNCHES SERVICE ON WEB APP TO REACH MORE RIDERS - BrandCrunch Nigeria">
            <a:extLst>
              <a:ext uri="{FF2B5EF4-FFF2-40B4-BE49-F238E27FC236}">
                <a16:creationId xmlns:a16="http://schemas.microsoft.com/office/drawing/2014/main" id="{CA928616-CC0D-42DE-BFEA-F9E0582313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756853" cy="1670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2" descr="Logo&#10;&#10;Description automatically generated">
            <a:extLst>
              <a:ext uri="{FF2B5EF4-FFF2-40B4-BE49-F238E27FC236}">
                <a16:creationId xmlns:a16="http://schemas.microsoft.com/office/drawing/2014/main" id="{C3BCBED5-57D3-43E3-BEC1-28DDCECC6CF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3030" y="218913"/>
            <a:ext cx="2558470" cy="870747"/>
          </a:xfrm>
          <a:prstGeom prst="rect">
            <a:avLst/>
          </a:prstGeom>
        </p:spPr>
      </p:pic>
      <p:grpSp>
        <p:nvGrpSpPr>
          <p:cNvPr id="8" name="Google Shape;14;p2">
            <a:extLst>
              <a:ext uri="{FF2B5EF4-FFF2-40B4-BE49-F238E27FC236}">
                <a16:creationId xmlns:a16="http://schemas.microsoft.com/office/drawing/2014/main" id="{3ED30F93-A1A9-4B84-9E17-7488926DA88E}"/>
              </a:ext>
            </a:extLst>
          </p:cNvPr>
          <p:cNvGrpSpPr/>
          <p:nvPr userDrawn="1"/>
        </p:nvGrpSpPr>
        <p:grpSpPr>
          <a:xfrm>
            <a:off x="5301367" y="3024555"/>
            <a:ext cx="2871962" cy="614828"/>
            <a:chOff x="15867399" y="9251826"/>
            <a:chExt cx="1725920" cy="347510"/>
          </a:xfrm>
        </p:grpSpPr>
        <p:grpSp>
          <p:nvGrpSpPr>
            <p:cNvPr id="9" name="Google Shape;15;p2">
              <a:extLst>
                <a:ext uri="{FF2B5EF4-FFF2-40B4-BE49-F238E27FC236}">
                  <a16:creationId xmlns:a16="http://schemas.microsoft.com/office/drawing/2014/main" id="{F0B0EC5B-C1D0-4DB8-8F6D-5DAAA4C3D864}"/>
                </a:ext>
              </a:extLst>
            </p:cNvPr>
            <p:cNvGrpSpPr/>
            <p:nvPr/>
          </p:nvGrpSpPr>
          <p:grpSpPr>
            <a:xfrm>
              <a:off x="16500868" y="9262980"/>
              <a:ext cx="1092451" cy="336217"/>
              <a:chOff x="4940894" y="2609525"/>
              <a:chExt cx="5500759" cy="1694643"/>
            </a:xfrm>
          </p:grpSpPr>
          <p:sp>
            <p:nvSpPr>
              <p:cNvPr id="17" name="Google Shape;16;p2">
                <a:extLst>
                  <a:ext uri="{FF2B5EF4-FFF2-40B4-BE49-F238E27FC236}">
                    <a16:creationId xmlns:a16="http://schemas.microsoft.com/office/drawing/2014/main" id="{98B08C1C-E5D1-447D-B916-E8A3C9DBCA7E}"/>
                  </a:ext>
                </a:extLst>
              </p:cNvPr>
              <p:cNvSpPr/>
              <p:nvPr/>
            </p:nvSpPr>
            <p:spPr>
              <a:xfrm>
                <a:off x="4940894" y="2609525"/>
                <a:ext cx="1771710" cy="1664870"/>
              </a:xfrm>
              <a:custGeom>
                <a:avLst/>
                <a:gdLst/>
                <a:ahLst/>
                <a:cxnLst/>
                <a:rect l="l" t="t" r="r" b="b"/>
                <a:pathLst>
                  <a:path w="1771710" h="1664870" extrusionOk="0">
                    <a:moveTo>
                      <a:pt x="0" y="0"/>
                    </a:moveTo>
                    <a:lnTo>
                      <a:pt x="329405" y="0"/>
                    </a:lnTo>
                    <a:lnTo>
                      <a:pt x="889445" y="1013178"/>
                    </a:lnTo>
                    <a:lnTo>
                      <a:pt x="1449486" y="0"/>
                    </a:lnTo>
                    <a:lnTo>
                      <a:pt x="1771711" y="0"/>
                    </a:lnTo>
                    <a:lnTo>
                      <a:pt x="1771711" y="1664870"/>
                    </a:lnTo>
                    <a:lnTo>
                      <a:pt x="1503073" y="1664870"/>
                    </a:lnTo>
                    <a:lnTo>
                      <a:pt x="1503073" y="388983"/>
                    </a:lnTo>
                    <a:lnTo>
                      <a:pt x="1012031" y="1272559"/>
                    </a:lnTo>
                    <a:lnTo>
                      <a:pt x="760030" y="1272559"/>
                    </a:lnTo>
                    <a:lnTo>
                      <a:pt x="268988" y="388983"/>
                    </a:lnTo>
                    <a:lnTo>
                      <a:pt x="268988" y="1664870"/>
                    </a:lnTo>
                    <a:lnTo>
                      <a:pt x="351" y="1664870"/>
                    </a:lnTo>
                    <a:lnTo>
                      <a:pt x="351" y="0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defTabSz="609630">
                  <a:buClr>
                    <a:srgbClr val="000000"/>
                  </a:buClr>
                </a:pPr>
                <a:endParaRPr sz="1200" kern="0">
                  <a:solidFill>
                    <a:srgbClr val="000000"/>
                  </a:solidFill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18" name="Google Shape;17;p2">
                <a:extLst>
                  <a:ext uri="{FF2B5EF4-FFF2-40B4-BE49-F238E27FC236}">
                    <a16:creationId xmlns:a16="http://schemas.microsoft.com/office/drawing/2014/main" id="{565541E1-D77C-40ED-B760-DBEF9DFCDFD9}"/>
                  </a:ext>
                </a:extLst>
              </p:cNvPr>
              <p:cNvSpPr/>
              <p:nvPr/>
            </p:nvSpPr>
            <p:spPr>
              <a:xfrm>
                <a:off x="6951471" y="3004463"/>
                <a:ext cx="1178571" cy="1299705"/>
              </a:xfrm>
              <a:custGeom>
                <a:avLst/>
                <a:gdLst/>
                <a:ahLst/>
                <a:cxnLst/>
                <a:rect l="l" t="t" r="r" b="b"/>
                <a:pathLst>
                  <a:path w="1178571" h="1299705" extrusionOk="0">
                    <a:moveTo>
                      <a:pt x="627813" y="1299706"/>
                    </a:moveTo>
                    <a:cubicBezTo>
                      <a:pt x="503301" y="1299706"/>
                      <a:pt x="394025" y="1272209"/>
                      <a:pt x="299634" y="1217040"/>
                    </a:cubicBezTo>
                    <a:cubicBezTo>
                      <a:pt x="205243" y="1161871"/>
                      <a:pt x="131692" y="1085686"/>
                      <a:pt x="79155" y="988134"/>
                    </a:cubicBezTo>
                    <a:cubicBezTo>
                      <a:pt x="26444" y="890581"/>
                      <a:pt x="0" y="778843"/>
                      <a:pt x="0" y="652743"/>
                    </a:cubicBezTo>
                    <a:cubicBezTo>
                      <a:pt x="0" y="525066"/>
                      <a:pt x="25743" y="412102"/>
                      <a:pt x="77229" y="313849"/>
                    </a:cubicBezTo>
                    <a:cubicBezTo>
                      <a:pt x="128715" y="215596"/>
                      <a:pt x="200340" y="138710"/>
                      <a:pt x="291929" y="83191"/>
                    </a:cubicBezTo>
                    <a:cubicBezTo>
                      <a:pt x="383517" y="27672"/>
                      <a:pt x="488766" y="0"/>
                      <a:pt x="607674" y="0"/>
                    </a:cubicBezTo>
                    <a:cubicBezTo>
                      <a:pt x="725706" y="0"/>
                      <a:pt x="827452" y="28022"/>
                      <a:pt x="912737" y="83892"/>
                    </a:cubicBezTo>
                    <a:cubicBezTo>
                      <a:pt x="998021" y="139761"/>
                      <a:pt x="1063516" y="218048"/>
                      <a:pt x="1109574" y="318753"/>
                    </a:cubicBezTo>
                    <a:cubicBezTo>
                      <a:pt x="1155455" y="419458"/>
                      <a:pt x="1178572" y="537501"/>
                      <a:pt x="1178572" y="673059"/>
                    </a:cubicBezTo>
                    <a:lnTo>
                      <a:pt x="1178572" y="746792"/>
                    </a:lnTo>
                    <a:lnTo>
                      <a:pt x="266536" y="746792"/>
                    </a:lnTo>
                    <a:cubicBezTo>
                      <a:pt x="283173" y="848373"/>
                      <a:pt x="324151" y="928236"/>
                      <a:pt x="389647" y="986382"/>
                    </a:cubicBezTo>
                    <a:cubicBezTo>
                      <a:pt x="454967" y="1044703"/>
                      <a:pt x="537625" y="1073776"/>
                      <a:pt x="637620" y="1073776"/>
                    </a:cubicBezTo>
                    <a:cubicBezTo>
                      <a:pt x="717650" y="1073776"/>
                      <a:pt x="786649" y="1061867"/>
                      <a:pt x="844439" y="1038048"/>
                    </a:cubicBezTo>
                    <a:cubicBezTo>
                      <a:pt x="902229" y="1014229"/>
                      <a:pt x="956517" y="978151"/>
                      <a:pt x="1007303" y="929812"/>
                    </a:cubicBezTo>
                    <a:lnTo>
                      <a:pt x="1150027" y="1104601"/>
                    </a:lnTo>
                    <a:cubicBezTo>
                      <a:pt x="1008003" y="1234729"/>
                      <a:pt x="833932" y="1299706"/>
                      <a:pt x="627813" y="1299706"/>
                    </a:cubicBezTo>
                    <a:close/>
                    <a:moveTo>
                      <a:pt x="824125" y="312098"/>
                    </a:moveTo>
                    <a:cubicBezTo>
                      <a:pt x="767910" y="254652"/>
                      <a:pt x="694184" y="225929"/>
                      <a:pt x="602945" y="225929"/>
                    </a:cubicBezTo>
                    <a:cubicBezTo>
                      <a:pt x="514159" y="225929"/>
                      <a:pt x="439907" y="255353"/>
                      <a:pt x="380015" y="313849"/>
                    </a:cubicBezTo>
                    <a:cubicBezTo>
                      <a:pt x="320123" y="372521"/>
                      <a:pt x="282297" y="451333"/>
                      <a:pt x="266536" y="550462"/>
                    </a:cubicBezTo>
                    <a:lnTo>
                      <a:pt x="920442" y="550462"/>
                    </a:lnTo>
                    <a:cubicBezTo>
                      <a:pt x="912386" y="449056"/>
                      <a:pt x="880339" y="369543"/>
                      <a:pt x="824125" y="312098"/>
                    </a:cubicBez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defTabSz="609630">
                  <a:buClr>
                    <a:srgbClr val="000000"/>
                  </a:buClr>
                </a:pPr>
                <a:endParaRPr sz="1200" kern="0">
                  <a:solidFill>
                    <a:srgbClr val="000000"/>
                  </a:solidFill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19" name="Google Shape;18;p2">
                <a:extLst>
                  <a:ext uri="{FF2B5EF4-FFF2-40B4-BE49-F238E27FC236}">
                    <a16:creationId xmlns:a16="http://schemas.microsoft.com/office/drawing/2014/main" id="{67C9D099-EC8B-4D0E-B2A0-AF72C0FBA8E4}"/>
                  </a:ext>
                </a:extLst>
              </p:cNvPr>
              <p:cNvSpPr/>
              <p:nvPr/>
            </p:nvSpPr>
            <p:spPr>
              <a:xfrm>
                <a:off x="8208497" y="2670123"/>
                <a:ext cx="882090" cy="1631418"/>
              </a:xfrm>
              <a:custGeom>
                <a:avLst/>
                <a:gdLst/>
                <a:ahLst/>
                <a:cxnLst/>
                <a:rect l="l" t="t" r="r" b="b"/>
                <a:pathLst>
                  <a:path w="882090" h="1631418" extrusionOk="0">
                    <a:moveTo>
                      <a:pt x="247273" y="583913"/>
                    </a:moveTo>
                    <a:lnTo>
                      <a:pt x="0" y="583913"/>
                    </a:lnTo>
                    <a:lnTo>
                      <a:pt x="0" y="363939"/>
                    </a:lnTo>
                    <a:lnTo>
                      <a:pt x="247273" y="363939"/>
                    </a:lnTo>
                    <a:lnTo>
                      <a:pt x="247273" y="0"/>
                    </a:lnTo>
                    <a:lnTo>
                      <a:pt x="506453" y="0"/>
                    </a:lnTo>
                    <a:lnTo>
                      <a:pt x="506453" y="363939"/>
                    </a:lnTo>
                    <a:lnTo>
                      <a:pt x="882090" y="363939"/>
                    </a:lnTo>
                    <a:lnTo>
                      <a:pt x="882090" y="583913"/>
                    </a:lnTo>
                    <a:lnTo>
                      <a:pt x="506278" y="583913"/>
                    </a:lnTo>
                    <a:lnTo>
                      <a:pt x="506278" y="1141555"/>
                    </a:lnTo>
                    <a:cubicBezTo>
                      <a:pt x="506278" y="1234379"/>
                      <a:pt x="522214" y="1300581"/>
                      <a:pt x="553912" y="1340163"/>
                    </a:cubicBezTo>
                    <a:cubicBezTo>
                      <a:pt x="585609" y="1379744"/>
                      <a:pt x="639897" y="1399710"/>
                      <a:pt x="716775" y="1399535"/>
                    </a:cubicBezTo>
                    <a:cubicBezTo>
                      <a:pt x="750924" y="1399535"/>
                      <a:pt x="779819" y="1398134"/>
                      <a:pt x="803636" y="1395332"/>
                    </a:cubicBezTo>
                    <a:cubicBezTo>
                      <a:pt x="827452" y="1392529"/>
                      <a:pt x="853546" y="1388851"/>
                      <a:pt x="882090" y="1383948"/>
                    </a:cubicBezTo>
                    <a:lnTo>
                      <a:pt x="882090" y="1601645"/>
                    </a:lnTo>
                    <a:cubicBezTo>
                      <a:pt x="849517" y="1611103"/>
                      <a:pt x="816420" y="1618283"/>
                      <a:pt x="782796" y="1623012"/>
                    </a:cubicBezTo>
                    <a:cubicBezTo>
                      <a:pt x="744444" y="1628616"/>
                      <a:pt x="705742" y="1631419"/>
                      <a:pt x="666865" y="1631419"/>
                    </a:cubicBezTo>
                    <a:cubicBezTo>
                      <a:pt x="387020" y="1631419"/>
                      <a:pt x="247097" y="1478347"/>
                      <a:pt x="247097" y="1172380"/>
                    </a:cubicBezTo>
                    <a:lnTo>
                      <a:pt x="247273" y="583913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defTabSz="609630">
                  <a:buClr>
                    <a:srgbClr val="000000"/>
                  </a:buClr>
                </a:pPr>
                <a:endParaRPr sz="1200" kern="0">
                  <a:solidFill>
                    <a:srgbClr val="000000"/>
                  </a:solidFill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0" name="Google Shape;19;p2">
                <a:extLst>
                  <a:ext uri="{FF2B5EF4-FFF2-40B4-BE49-F238E27FC236}">
                    <a16:creationId xmlns:a16="http://schemas.microsoft.com/office/drawing/2014/main" id="{1B0F6C3C-50F7-43D1-BE62-3A17CF9C0BF2}"/>
                  </a:ext>
                </a:extLst>
              </p:cNvPr>
              <p:cNvSpPr/>
              <p:nvPr/>
            </p:nvSpPr>
            <p:spPr>
              <a:xfrm>
                <a:off x="9214573" y="3004463"/>
                <a:ext cx="1227080" cy="1299705"/>
              </a:xfrm>
              <a:custGeom>
                <a:avLst/>
                <a:gdLst/>
                <a:ahLst/>
                <a:cxnLst/>
                <a:rect l="l" t="t" r="r" b="b"/>
                <a:pathLst>
                  <a:path w="1227080" h="1299705" extrusionOk="0">
                    <a:moveTo>
                      <a:pt x="1226906" y="1269932"/>
                    </a:moveTo>
                    <a:lnTo>
                      <a:pt x="972454" y="1269932"/>
                    </a:lnTo>
                    <a:lnTo>
                      <a:pt x="972454" y="1096369"/>
                    </a:lnTo>
                    <a:cubicBezTo>
                      <a:pt x="927272" y="1161346"/>
                      <a:pt x="869832" y="1211611"/>
                      <a:pt x="800134" y="1246814"/>
                    </a:cubicBezTo>
                    <a:cubicBezTo>
                      <a:pt x="730434" y="1282017"/>
                      <a:pt x="651104" y="1299706"/>
                      <a:pt x="562317" y="1299706"/>
                    </a:cubicBezTo>
                    <a:cubicBezTo>
                      <a:pt x="452866" y="1299706"/>
                      <a:pt x="356024" y="1271683"/>
                      <a:pt x="271615" y="1215814"/>
                    </a:cubicBezTo>
                    <a:cubicBezTo>
                      <a:pt x="187206" y="1159945"/>
                      <a:pt x="120834" y="1083059"/>
                      <a:pt x="72501" y="985156"/>
                    </a:cubicBezTo>
                    <a:cubicBezTo>
                      <a:pt x="24167" y="887253"/>
                      <a:pt x="0" y="775340"/>
                      <a:pt x="0" y="649240"/>
                    </a:cubicBezTo>
                    <a:cubicBezTo>
                      <a:pt x="0" y="522439"/>
                      <a:pt x="24517" y="410175"/>
                      <a:pt x="73727" y="312623"/>
                    </a:cubicBezTo>
                    <a:cubicBezTo>
                      <a:pt x="122936" y="215071"/>
                      <a:pt x="190883" y="138710"/>
                      <a:pt x="277569" y="83191"/>
                    </a:cubicBezTo>
                    <a:cubicBezTo>
                      <a:pt x="364429" y="27672"/>
                      <a:pt x="464074" y="0"/>
                      <a:pt x="576678" y="0"/>
                    </a:cubicBezTo>
                    <a:cubicBezTo>
                      <a:pt x="661437" y="0"/>
                      <a:pt x="737615" y="16463"/>
                      <a:pt x="805037" y="49389"/>
                    </a:cubicBezTo>
                    <a:cubicBezTo>
                      <a:pt x="871583" y="81615"/>
                      <a:pt x="929023" y="129603"/>
                      <a:pt x="972629" y="189150"/>
                    </a:cubicBezTo>
                    <a:lnTo>
                      <a:pt x="972629" y="29774"/>
                    </a:lnTo>
                    <a:lnTo>
                      <a:pt x="1227081" y="29774"/>
                    </a:lnTo>
                    <a:lnTo>
                      <a:pt x="1227081" y="1269932"/>
                    </a:lnTo>
                    <a:close/>
                    <a:moveTo>
                      <a:pt x="967550" y="463768"/>
                    </a:moveTo>
                    <a:cubicBezTo>
                      <a:pt x="939705" y="393187"/>
                      <a:pt x="895925" y="337493"/>
                      <a:pt x="836208" y="296685"/>
                    </a:cubicBezTo>
                    <a:cubicBezTo>
                      <a:pt x="776317" y="255878"/>
                      <a:pt x="707144" y="235387"/>
                      <a:pt x="628688" y="235387"/>
                    </a:cubicBezTo>
                    <a:cubicBezTo>
                      <a:pt x="517661" y="235387"/>
                      <a:pt x="429400" y="272691"/>
                      <a:pt x="363554" y="347125"/>
                    </a:cubicBezTo>
                    <a:cubicBezTo>
                      <a:pt x="297708" y="421559"/>
                      <a:pt x="264785" y="522264"/>
                      <a:pt x="264785" y="649240"/>
                    </a:cubicBezTo>
                    <a:cubicBezTo>
                      <a:pt x="264785" y="776916"/>
                      <a:pt x="296482" y="877971"/>
                      <a:pt x="359876" y="952405"/>
                    </a:cubicBezTo>
                    <a:cubicBezTo>
                      <a:pt x="423270" y="1027014"/>
                      <a:pt x="509256" y="1064144"/>
                      <a:pt x="617831" y="1064144"/>
                    </a:cubicBezTo>
                    <a:cubicBezTo>
                      <a:pt x="697862" y="1064144"/>
                      <a:pt x="769137" y="1043477"/>
                      <a:pt x="831830" y="1002320"/>
                    </a:cubicBezTo>
                    <a:cubicBezTo>
                      <a:pt x="894524" y="961162"/>
                      <a:pt x="939705" y="905643"/>
                      <a:pt x="967375" y="835763"/>
                    </a:cubicBezTo>
                    <a:lnTo>
                      <a:pt x="967550" y="463768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defTabSz="609630">
                  <a:buClr>
                    <a:srgbClr val="000000"/>
                  </a:buClr>
                </a:pPr>
                <a:endParaRPr sz="1200" kern="0">
                  <a:solidFill>
                    <a:srgbClr val="000000"/>
                  </a:solidFill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</p:grpSp>
        <p:grpSp>
          <p:nvGrpSpPr>
            <p:cNvPr id="10" name="Google Shape;20;p2">
              <a:extLst>
                <a:ext uri="{FF2B5EF4-FFF2-40B4-BE49-F238E27FC236}">
                  <a16:creationId xmlns:a16="http://schemas.microsoft.com/office/drawing/2014/main" id="{404EF56D-7BC7-4506-A5F7-C690ABC6E4EC}"/>
                </a:ext>
              </a:extLst>
            </p:cNvPr>
            <p:cNvGrpSpPr/>
            <p:nvPr/>
          </p:nvGrpSpPr>
          <p:grpSpPr>
            <a:xfrm>
              <a:off x="15867399" y="9251826"/>
              <a:ext cx="523393" cy="347510"/>
              <a:chOff x="1751220" y="2553305"/>
              <a:chExt cx="2635412" cy="1751564"/>
            </a:xfrm>
          </p:grpSpPr>
          <p:grpSp>
            <p:nvGrpSpPr>
              <p:cNvPr id="11" name="Google Shape;21;p2">
                <a:extLst>
                  <a:ext uri="{FF2B5EF4-FFF2-40B4-BE49-F238E27FC236}">
                    <a16:creationId xmlns:a16="http://schemas.microsoft.com/office/drawing/2014/main" id="{00DB188F-FFFC-4875-B6C0-5D47811D0D45}"/>
                  </a:ext>
                </a:extLst>
              </p:cNvPr>
              <p:cNvGrpSpPr/>
              <p:nvPr/>
            </p:nvGrpSpPr>
            <p:grpSpPr>
              <a:xfrm>
                <a:off x="1751220" y="2553305"/>
                <a:ext cx="2635412" cy="1751564"/>
                <a:chOff x="1751220" y="2553305"/>
                <a:chExt cx="2635412" cy="1751564"/>
              </a:xfrm>
            </p:grpSpPr>
            <p:sp>
              <p:nvSpPr>
                <p:cNvPr id="13" name="Google Shape;22;p2">
                  <a:extLst>
                    <a:ext uri="{FF2B5EF4-FFF2-40B4-BE49-F238E27FC236}">
                      <a16:creationId xmlns:a16="http://schemas.microsoft.com/office/drawing/2014/main" id="{D87FE2BC-F5B3-4F0D-8A16-4B5A856134CF}"/>
                    </a:ext>
                  </a:extLst>
                </p:cNvPr>
                <p:cNvSpPr/>
                <p:nvPr/>
              </p:nvSpPr>
              <p:spPr>
                <a:xfrm>
                  <a:off x="3069540" y="3101490"/>
                  <a:ext cx="1317092" cy="12033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7092" h="1203379" extrusionOk="0">
                      <a:moveTo>
                        <a:pt x="1277166" y="226980"/>
                      </a:moveTo>
                      <a:lnTo>
                        <a:pt x="1020962" y="226980"/>
                      </a:lnTo>
                      <a:cubicBezTo>
                        <a:pt x="1049682" y="343622"/>
                        <a:pt x="1065618" y="472875"/>
                        <a:pt x="1065618" y="608958"/>
                      </a:cubicBezTo>
                      <a:cubicBezTo>
                        <a:pt x="1065618" y="804588"/>
                        <a:pt x="1001523" y="918253"/>
                        <a:pt x="868780" y="918253"/>
                      </a:cubicBezTo>
                      <a:cubicBezTo>
                        <a:pt x="741467" y="918253"/>
                        <a:pt x="680700" y="834187"/>
                        <a:pt x="439031" y="445378"/>
                      </a:cubicBezTo>
                      <a:lnTo>
                        <a:pt x="284573" y="187749"/>
                      </a:lnTo>
                      <a:cubicBezTo>
                        <a:pt x="242719" y="119795"/>
                        <a:pt x="202616" y="57095"/>
                        <a:pt x="164089" y="0"/>
                      </a:cubicBezTo>
                      <a:lnTo>
                        <a:pt x="21365" y="0"/>
                      </a:lnTo>
                      <a:lnTo>
                        <a:pt x="0" y="277420"/>
                      </a:lnTo>
                      <a:cubicBezTo>
                        <a:pt x="27669" y="322080"/>
                        <a:pt x="56915" y="370244"/>
                        <a:pt x="87561" y="421910"/>
                      </a:cubicBezTo>
                      <a:lnTo>
                        <a:pt x="216801" y="639257"/>
                      </a:lnTo>
                      <a:cubicBezTo>
                        <a:pt x="468452" y="1060466"/>
                        <a:pt x="608724" y="1203379"/>
                        <a:pt x="863002" y="1203379"/>
                      </a:cubicBezTo>
                      <a:cubicBezTo>
                        <a:pt x="1154755" y="1203379"/>
                        <a:pt x="1317093" y="967117"/>
                        <a:pt x="1317093" y="589868"/>
                      </a:cubicBezTo>
                      <a:cubicBezTo>
                        <a:pt x="1316918" y="463417"/>
                        <a:pt x="1302908" y="341346"/>
                        <a:pt x="1277166" y="226980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64E0"/>
                    </a:gs>
                    <a:gs pos="13000">
                      <a:srgbClr val="0064E0"/>
                    </a:gs>
                    <a:gs pos="82000">
                      <a:srgbClr val="2C7FF4"/>
                    </a:gs>
                    <a:gs pos="100000">
                      <a:srgbClr val="2C7FF4"/>
                    </a:gs>
                  </a:gsLst>
                  <a:lin ang="0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defTabSz="609630">
                    <a:buClr>
                      <a:srgbClr val="000000"/>
                    </a:buClr>
                  </a:pPr>
                  <a:endParaRPr sz="1200" kern="0">
                    <a:solidFill>
                      <a:srgbClr val="000000"/>
                    </a:solidFill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14" name="Google Shape;23;p2">
                  <a:extLst>
                    <a:ext uri="{FF2B5EF4-FFF2-40B4-BE49-F238E27FC236}">
                      <a16:creationId xmlns:a16="http://schemas.microsoft.com/office/drawing/2014/main" id="{5E142204-B186-45DD-85DB-BA3642B17AB0}"/>
                    </a:ext>
                  </a:extLst>
                </p:cNvPr>
                <p:cNvSpPr/>
                <p:nvPr/>
              </p:nvSpPr>
              <p:spPr>
                <a:xfrm>
                  <a:off x="3091079" y="2553305"/>
                  <a:ext cx="1255800" cy="775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5800" h="775164" extrusionOk="0">
                      <a:moveTo>
                        <a:pt x="533422" y="225929"/>
                      </a:moveTo>
                      <a:cubicBezTo>
                        <a:pt x="741992" y="225929"/>
                        <a:pt x="919916" y="451683"/>
                        <a:pt x="999597" y="775165"/>
                      </a:cubicBezTo>
                      <a:lnTo>
                        <a:pt x="1255801" y="775165"/>
                      </a:lnTo>
                      <a:cubicBezTo>
                        <a:pt x="1155455" y="329086"/>
                        <a:pt x="876311" y="0"/>
                        <a:pt x="551635" y="0"/>
                      </a:cubicBezTo>
                      <a:cubicBezTo>
                        <a:pt x="335534" y="0"/>
                        <a:pt x="166716" y="162704"/>
                        <a:pt x="13660" y="369543"/>
                      </a:cubicBezTo>
                      <a:lnTo>
                        <a:pt x="0" y="548010"/>
                      </a:lnTo>
                      <a:lnTo>
                        <a:pt x="142725" y="548010"/>
                      </a:lnTo>
                      <a:cubicBezTo>
                        <a:pt x="281772" y="332939"/>
                        <a:pt x="396652" y="225929"/>
                        <a:pt x="533422" y="225929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2C7FF4"/>
                    </a:gs>
                    <a:gs pos="13000">
                      <a:srgbClr val="2C7FF4"/>
                    </a:gs>
                    <a:gs pos="100000">
                      <a:srgbClr val="128DFF"/>
                    </a:gs>
                  </a:gsLst>
                  <a:lin ang="10800025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defTabSz="609630">
                    <a:buClr>
                      <a:srgbClr val="000000"/>
                    </a:buClr>
                  </a:pPr>
                  <a:endParaRPr sz="1200" kern="0">
                    <a:solidFill>
                      <a:srgbClr val="000000"/>
                    </a:solidFill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15" name="Google Shape;24;p2">
                  <a:extLst>
                    <a:ext uri="{FF2B5EF4-FFF2-40B4-BE49-F238E27FC236}">
                      <a16:creationId xmlns:a16="http://schemas.microsoft.com/office/drawing/2014/main" id="{715A5515-D913-4B58-8443-6E7B9EC562F7}"/>
                    </a:ext>
                  </a:extLst>
                </p:cNvPr>
                <p:cNvSpPr/>
                <p:nvPr/>
              </p:nvSpPr>
              <p:spPr>
                <a:xfrm>
                  <a:off x="1751220" y="2553305"/>
                  <a:ext cx="1353343" cy="1751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53343" h="1751388" extrusionOk="0">
                      <a:moveTo>
                        <a:pt x="757228" y="0"/>
                      </a:moveTo>
                      <a:cubicBezTo>
                        <a:pt x="328529" y="0"/>
                        <a:pt x="0" y="557992"/>
                        <a:pt x="0" y="1148736"/>
                      </a:cubicBezTo>
                      <a:cubicBezTo>
                        <a:pt x="0" y="1518279"/>
                        <a:pt x="178800" y="1751389"/>
                        <a:pt x="478258" y="1751389"/>
                      </a:cubicBezTo>
                      <a:cubicBezTo>
                        <a:pt x="693834" y="1751389"/>
                        <a:pt x="848817" y="1649808"/>
                        <a:pt x="1124459" y="1168001"/>
                      </a:cubicBezTo>
                      <a:cubicBezTo>
                        <a:pt x="1124459" y="1168001"/>
                        <a:pt x="1239339" y="965190"/>
                        <a:pt x="1318319" y="825430"/>
                      </a:cubicBezTo>
                      <a:lnTo>
                        <a:pt x="1318319" y="825430"/>
                      </a:lnTo>
                      <a:lnTo>
                        <a:pt x="1353344" y="369543"/>
                      </a:lnTo>
                      <a:cubicBezTo>
                        <a:pt x="1143197" y="101931"/>
                        <a:pt x="967550" y="0"/>
                        <a:pt x="757228" y="0"/>
                      </a:cubicBezTo>
                      <a:close/>
                      <a:moveTo>
                        <a:pt x="914312" y="1037523"/>
                      </a:moveTo>
                      <a:cubicBezTo>
                        <a:pt x="690857" y="1387800"/>
                        <a:pt x="613628" y="1466263"/>
                        <a:pt x="489116" y="1466263"/>
                      </a:cubicBezTo>
                      <a:cubicBezTo>
                        <a:pt x="361102" y="1466263"/>
                        <a:pt x="284924" y="1353824"/>
                        <a:pt x="284924" y="1153465"/>
                      </a:cubicBezTo>
                      <a:cubicBezTo>
                        <a:pt x="284924" y="724725"/>
                        <a:pt x="498748" y="286177"/>
                        <a:pt x="753550" y="286177"/>
                      </a:cubicBezTo>
                      <a:cubicBezTo>
                        <a:pt x="891547" y="286177"/>
                        <a:pt x="1006952" y="365865"/>
                        <a:pt x="1183475" y="618766"/>
                      </a:cubicBezTo>
                      <a:cubicBezTo>
                        <a:pt x="1015883" y="876220"/>
                        <a:pt x="914312" y="1037523"/>
                        <a:pt x="914312" y="1037523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64E0"/>
                    </a:gs>
                    <a:gs pos="36000">
                      <a:srgbClr val="0064E0"/>
                    </a:gs>
                    <a:gs pos="78000">
                      <a:srgbClr val="128DFF"/>
                    </a:gs>
                    <a:gs pos="100000">
                      <a:srgbClr val="128DFF"/>
                    </a:gs>
                  </a:gsLst>
                  <a:lin ang="1801379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defTabSz="609630">
                    <a:buClr>
                      <a:srgbClr val="000000"/>
                    </a:buClr>
                  </a:pPr>
                  <a:endParaRPr sz="1200" kern="0">
                    <a:solidFill>
                      <a:srgbClr val="000000"/>
                    </a:solidFill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16" name="Google Shape;25;p2">
                  <a:extLst>
                    <a:ext uri="{FF2B5EF4-FFF2-40B4-BE49-F238E27FC236}">
                      <a16:creationId xmlns:a16="http://schemas.microsoft.com/office/drawing/2014/main" id="{2A57DD71-45CD-4589-B497-5F96979306E0}"/>
                    </a:ext>
                  </a:extLst>
                </p:cNvPr>
                <p:cNvSpPr/>
                <p:nvPr/>
              </p:nvSpPr>
              <p:spPr>
                <a:xfrm>
                  <a:off x="2504771" y="2553305"/>
                  <a:ext cx="849517" cy="10023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9517" h="1002319" extrusionOk="0">
                      <a:moveTo>
                        <a:pt x="849517" y="735758"/>
                      </a:moveTo>
                      <a:cubicBezTo>
                        <a:pt x="514509" y="190901"/>
                        <a:pt x="291578" y="0"/>
                        <a:pt x="3678" y="0"/>
                      </a:cubicBezTo>
                      <a:lnTo>
                        <a:pt x="0" y="286177"/>
                      </a:lnTo>
                      <a:cubicBezTo>
                        <a:pt x="188431" y="286177"/>
                        <a:pt x="334483" y="434695"/>
                        <a:pt x="652155" y="969744"/>
                      </a:cubicBezTo>
                      <a:lnTo>
                        <a:pt x="671593" y="1002320"/>
                      </a:lnTo>
                      <a:lnTo>
                        <a:pt x="849517" y="735758"/>
                      </a:lnTo>
                      <a:close/>
                    </a:path>
                  </a:pathLst>
                </a:custGeom>
                <a:solidFill>
                  <a:srgbClr val="0064E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defTabSz="609630">
                    <a:buClr>
                      <a:srgbClr val="000000"/>
                    </a:buClr>
                  </a:pPr>
                  <a:endParaRPr sz="1200" kern="0">
                    <a:solidFill>
                      <a:srgbClr val="000000"/>
                    </a:solidFill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</p:grpSp>
          <p:sp>
            <p:nvSpPr>
              <p:cNvPr id="12" name="Google Shape;26;p2">
                <a:extLst>
                  <a:ext uri="{FF2B5EF4-FFF2-40B4-BE49-F238E27FC236}">
                    <a16:creationId xmlns:a16="http://schemas.microsoft.com/office/drawing/2014/main" id="{1DA65350-3E3F-4524-94BE-6D8469BDF9C7}"/>
                  </a:ext>
                </a:extLst>
              </p:cNvPr>
              <p:cNvSpPr/>
              <p:nvPr/>
            </p:nvSpPr>
            <p:spPr>
              <a:xfrm>
                <a:off x="4034812" y="3064536"/>
                <a:ext cx="329229" cy="361311"/>
              </a:xfrm>
              <a:custGeom>
                <a:avLst/>
                <a:gdLst/>
                <a:ahLst/>
                <a:cxnLst/>
                <a:rect l="l" t="t" r="r" b="b"/>
                <a:pathLst>
                  <a:path w="329229" h="361311" extrusionOk="0">
                    <a:moveTo>
                      <a:pt x="311893" y="263934"/>
                    </a:moveTo>
                    <a:lnTo>
                      <a:pt x="311893" y="263934"/>
                    </a:lnTo>
                    <a:cubicBezTo>
                      <a:pt x="291053" y="170060"/>
                      <a:pt x="261983" y="81440"/>
                      <a:pt x="226258" y="0"/>
                    </a:cubicBezTo>
                    <a:lnTo>
                      <a:pt x="0" y="90547"/>
                    </a:lnTo>
                    <a:cubicBezTo>
                      <a:pt x="21890" y="144139"/>
                      <a:pt x="40628" y="202285"/>
                      <a:pt x="55864" y="263934"/>
                    </a:cubicBezTo>
                    <a:lnTo>
                      <a:pt x="55689" y="263934"/>
                    </a:lnTo>
                    <a:cubicBezTo>
                      <a:pt x="63394" y="295459"/>
                      <a:pt x="70224" y="328035"/>
                      <a:pt x="76003" y="361311"/>
                    </a:cubicBezTo>
                    <a:lnTo>
                      <a:pt x="329230" y="353080"/>
                    </a:lnTo>
                    <a:cubicBezTo>
                      <a:pt x="324326" y="322781"/>
                      <a:pt x="318547" y="293183"/>
                      <a:pt x="311893" y="263934"/>
                    </a:cubicBezTo>
                    <a:close/>
                  </a:path>
                </a:pathLst>
              </a:custGeom>
              <a:solidFill>
                <a:srgbClr val="2C7FF4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defTabSz="609630">
                  <a:buClr>
                    <a:srgbClr val="000000"/>
                  </a:buClr>
                </a:pPr>
                <a:endParaRPr sz="1200" kern="0">
                  <a:solidFill>
                    <a:srgbClr val="000000"/>
                  </a:solidFill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240297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19141" y="6602667"/>
            <a:ext cx="581906" cy="365125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lang="en-US" b="1" smtClean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37377" y="164815"/>
            <a:ext cx="10181962" cy="781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6F83D20-4F50-4713-9AD7-08B4A11C9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37377" y="6602667"/>
            <a:ext cx="2558540" cy="365125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lang="en-US" b="1" smtClean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algn="l"/>
            <a:r>
              <a:rPr lang="en-US"/>
              <a:t>© Analytic Edge Proprietary and Confidentia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182D1E7-33C8-4911-97EF-E269400E6501}"/>
              </a:ext>
            </a:extLst>
          </p:cNvPr>
          <p:cNvGrpSpPr/>
          <p:nvPr/>
        </p:nvGrpSpPr>
        <p:grpSpPr>
          <a:xfrm>
            <a:off x="11085326" y="137746"/>
            <a:ext cx="1087187" cy="883335"/>
            <a:chOff x="10977375" y="137745"/>
            <a:chExt cx="1166440" cy="957326"/>
          </a:xfrm>
        </p:grpSpPr>
        <p:pic>
          <p:nvPicPr>
            <p:cNvPr id="9" name="Picture 2" descr="\\SONY\Users\Nivas\Desktop\analytic-edge\logo.png">
              <a:extLst>
                <a:ext uri="{FF2B5EF4-FFF2-40B4-BE49-F238E27FC236}">
                  <a16:creationId xmlns:a16="http://schemas.microsoft.com/office/drawing/2014/main" id="{70ECF28D-9ED1-4130-810F-BF36334F331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0B9BE10-F4BE-4239-A1CD-D9B41EFC9C45}"/>
                </a:ext>
              </a:extLst>
            </p:cNvPr>
            <p:cNvGrpSpPr/>
            <p:nvPr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12" name="Rectangle 1">
                <a:extLst>
                  <a:ext uri="{FF2B5EF4-FFF2-40B4-BE49-F238E27FC236}">
                    <a16:creationId xmlns:a16="http://schemas.microsoft.com/office/drawing/2014/main" id="{A97356E1-CA4A-4D2D-A662-AE2A1325E852}"/>
                  </a:ext>
                </a:extLst>
              </p:cNvPr>
              <p:cNvSpPr/>
              <p:nvPr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0"/>
              </a:p>
            </p:txBody>
          </p: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7CA855A-4EAE-4495-BF53-D70498E46EF8}"/>
                  </a:ext>
                </a:extLst>
              </p:cNvPr>
              <p:cNvGrpSpPr/>
              <p:nvPr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14" name="Freeform 10">
                  <a:extLst>
                    <a:ext uri="{FF2B5EF4-FFF2-40B4-BE49-F238E27FC236}">
                      <a16:creationId xmlns:a16="http://schemas.microsoft.com/office/drawing/2014/main" id="{09012B7E-D505-41CD-A9DB-A7AD80253D7A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" name="Freeform 11">
                  <a:extLst>
                    <a:ext uri="{FF2B5EF4-FFF2-40B4-BE49-F238E27FC236}">
                      <a16:creationId xmlns:a16="http://schemas.microsoft.com/office/drawing/2014/main" id="{CF712DE5-4B06-4C42-9A91-EF745F6CA988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F44FF6B-940A-4EB6-B5AA-18E2A45ACF68}"/>
              </a:ext>
            </a:extLst>
          </p:cNvPr>
          <p:cNvGrpSpPr/>
          <p:nvPr userDrawn="1"/>
        </p:nvGrpSpPr>
        <p:grpSpPr>
          <a:xfrm>
            <a:off x="11085326" y="137746"/>
            <a:ext cx="1087187" cy="883335"/>
            <a:chOff x="10977375" y="137745"/>
            <a:chExt cx="1166440" cy="957326"/>
          </a:xfrm>
        </p:grpSpPr>
        <p:pic>
          <p:nvPicPr>
            <p:cNvPr id="19" name="Picture 2" descr="\\SONY\Users\Nivas\Desktop\analytic-edge\logo.png">
              <a:extLst>
                <a:ext uri="{FF2B5EF4-FFF2-40B4-BE49-F238E27FC236}">
                  <a16:creationId xmlns:a16="http://schemas.microsoft.com/office/drawing/2014/main" id="{0A525A1E-8075-4D17-AC2D-4406EE8EBEB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ED9B458D-29BD-4E11-8ECA-D47D904312E3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21" name="Rectangle 1">
                <a:extLst>
                  <a:ext uri="{FF2B5EF4-FFF2-40B4-BE49-F238E27FC236}">
                    <a16:creationId xmlns:a16="http://schemas.microsoft.com/office/drawing/2014/main" id="{2B904846-34EB-4CB2-BC2F-A5B95084B8D3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0"/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2D09B069-B13A-4537-AF79-8449F5F4EA63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23" name="Freeform 10">
                  <a:extLst>
                    <a:ext uri="{FF2B5EF4-FFF2-40B4-BE49-F238E27FC236}">
                      <a16:creationId xmlns:a16="http://schemas.microsoft.com/office/drawing/2014/main" id="{A9317810-CCB2-4A26-B368-FF16C94496C2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4" name="Freeform 11">
                  <a:extLst>
                    <a:ext uri="{FF2B5EF4-FFF2-40B4-BE49-F238E27FC236}">
                      <a16:creationId xmlns:a16="http://schemas.microsoft.com/office/drawing/2014/main" id="{F467C7F1-3F4B-4AF2-BB76-20D0B31F7235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02C4074-D679-4D75-91B9-7719280E36E0}"/>
              </a:ext>
            </a:extLst>
          </p:cNvPr>
          <p:cNvCxnSpPr>
            <a:cxnSpLocks/>
          </p:cNvCxnSpPr>
          <p:nvPr userDrawn="1"/>
        </p:nvCxnSpPr>
        <p:spPr>
          <a:xfrm>
            <a:off x="1" y="6597135"/>
            <a:ext cx="12192000" cy="0"/>
          </a:xfrm>
          <a:prstGeom prst="line">
            <a:avLst/>
          </a:prstGeom>
          <a:ln w="6350" cap="sq">
            <a:solidFill>
              <a:schemeClr val="accent1">
                <a:lumMod val="50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69794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9FF314A5-3DBF-4B68-B28D-E1C0B111B2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22406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DA9C2DBB-220C-411F-BAAE-3B160BFFFE23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D95FAD8-309A-4AFB-8F16-C63EFE9DA3D6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07567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3C6318DA-9F05-4228-BFCA-2835697726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C11F388D-4847-4347-8E99-4EAB0D276E7D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FE1E241-AA40-4F2D-B0A0-8714BFFC185D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37601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38FD79EE-FC4A-4454-B8AD-FA64FCC2F23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F23B34AF-4EA3-4023-9ADC-CF6F5968530A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322BA1D-6E93-4C4B-967E-2C1A9BCA3888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30980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>
            <a:extLst>
              <a:ext uri="{FF2B5EF4-FFF2-40B4-BE49-F238E27FC236}">
                <a16:creationId xmlns:a16="http://schemas.microsoft.com/office/drawing/2014/main" id="{DC4F9F2A-971B-4B21-AE46-D73C510DC1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F88736C8-11BA-4021-AD6F-67433E6E95FE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ED6477D-A6CC-4E42-84D0-D7AD98F62594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17422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 descr="Bolt, rivalul european al gigantului Uber, a încheiat o rundă de investiţii  de 150 de milioane">
            <a:extLst>
              <a:ext uri="{FF2B5EF4-FFF2-40B4-BE49-F238E27FC236}">
                <a16:creationId xmlns:a16="http://schemas.microsoft.com/office/drawing/2014/main" id="{116A7398-1A53-4D83-BD23-B7CCA5D96BE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2">
            <a:extLst>
              <a:ext uri="{FF2B5EF4-FFF2-40B4-BE49-F238E27FC236}">
                <a16:creationId xmlns:a16="http://schemas.microsoft.com/office/drawing/2014/main" id="{46F3D7DC-458E-4AF0-958E-BCB167E20295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454987D-08E0-4D91-B4F2-E87FBBFA3DBA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38967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>
            <a:extLst>
              <a:ext uri="{FF2B5EF4-FFF2-40B4-BE49-F238E27FC236}">
                <a16:creationId xmlns:a16="http://schemas.microsoft.com/office/drawing/2014/main" id="{38F984A1-8051-45F8-8FEA-13ABF50BC36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19199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2">
            <a:extLst>
              <a:ext uri="{FF2B5EF4-FFF2-40B4-BE49-F238E27FC236}">
                <a16:creationId xmlns:a16="http://schemas.microsoft.com/office/drawing/2014/main" id="{46F3D7DC-458E-4AF0-958E-BCB167E20295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454987D-08E0-4D91-B4F2-E87FBBFA3DBA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48842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C6F2E6-ECCD-4D77-ABC8-33031DB8F3ED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36750466"/>
              </p:ext>
            </p:extLst>
          </p:nvPr>
        </p:nvGraphicFramePr>
        <p:xfrm>
          <a:off x="1604" y="1588"/>
          <a:ext cx="160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21" imgW="421" imgH="423" progId="TCLayout.ActiveDocument.1">
                  <p:embed/>
                </p:oleObj>
              </mc:Choice>
              <mc:Fallback>
                <p:oleObj name="think-cell Slide" r:id="rId21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C6F2E6-ECCD-4D77-ABC8-33031DB8F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604" y="1588"/>
                        <a:ext cx="160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00" y="6602667"/>
            <a:ext cx="2555300" cy="365125"/>
          </a:xfrm>
          <a:prstGeom prst="rect">
            <a:avLst/>
          </a:prstGeom>
          <a:ln>
            <a:noFill/>
          </a:ln>
        </p:spPr>
        <p:txBody>
          <a:bodyPr/>
          <a:lstStyle>
            <a:lvl1pPr algn="ctr">
              <a:defRPr sz="8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/>
              <a:t>© Analytic Edge Proprietary and Confidentia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45218" y="6602667"/>
            <a:ext cx="581838" cy="365125"/>
          </a:xfrm>
          <a:prstGeom prst="rect">
            <a:avLst/>
          </a:prstGeom>
          <a:ln>
            <a:noFill/>
          </a:ln>
        </p:spPr>
        <p:txBody>
          <a:bodyPr/>
          <a:lstStyle>
            <a:lvl1pPr algn="ctr">
              <a:defRPr sz="8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4034BEE3-566C-4068-A777-C3A4762E861B}" type="slidenum">
              <a:rPr lang="en-IN" smtClean="0"/>
              <a:pPr/>
              <a:t>‹#›</a:t>
            </a:fld>
            <a:endParaRPr lang="en-IN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4E56B3C-E4B6-4486-9ADF-E37E873A5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5682323"/>
              </p:ext>
            </p:extLst>
          </p:nvPr>
        </p:nvGraphicFramePr>
        <p:xfrm>
          <a:off x="1604" y="1588"/>
          <a:ext cx="160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Slide" r:id="rId23" imgW="421" imgH="423" progId="TCLayout.ActiveDocument.1">
                  <p:embed/>
                </p:oleObj>
              </mc:Choice>
              <mc:Fallback>
                <p:oleObj name="think-cell Slide" r:id="rId23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4E56B3C-E4B6-4486-9ADF-E37E873A5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604" y="1588"/>
                        <a:ext cx="160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49674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D248C7-7D50-4079-BF1C-58D9AD79EC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1" i="0" u="none" strike="noStrike" kern="1200" cap="none" spc="0" normalizeH="0" baseline="0" noProof="0" smtClean="0">
                <a:ln>
                  <a:noFill/>
                </a:ln>
                <a:solidFill>
                  <a:srgbClr val="186A43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N" sz="800" b="1" i="0" u="none" strike="noStrike" kern="1200" cap="none" spc="0" normalizeH="0" baseline="0" noProof="0">
              <a:ln>
                <a:noFill/>
              </a:ln>
              <a:solidFill>
                <a:srgbClr val="186A43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B9C0A24-76DD-4626-9E93-77DCBCC0E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First time activations from Model  – First Time Activations KPI (Daily)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C532A4-467E-4251-92AA-463EDB66D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186A43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A6779CD-F375-4855-AA3E-19C3C4C3FF5B}"/>
              </a:ext>
            </a:extLst>
          </p:cNvPr>
          <p:cNvSpPr txBox="1">
            <a:spLocks/>
          </p:cNvSpPr>
          <p:nvPr/>
        </p:nvSpPr>
        <p:spPr>
          <a:xfrm>
            <a:off x="937377" y="830696"/>
            <a:ext cx="10623418" cy="3960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+</a:t>
            </a: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07B62AA2-4A5C-4D0A-8C39-7864B42293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6860513"/>
              </p:ext>
            </p:extLst>
          </p:nvPr>
        </p:nvGraphicFramePr>
        <p:xfrm>
          <a:off x="695722" y="1084209"/>
          <a:ext cx="10654698" cy="5036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1" name="Google Shape;14;p2">
            <a:extLst>
              <a:ext uri="{FF2B5EF4-FFF2-40B4-BE49-F238E27FC236}">
                <a16:creationId xmlns:a16="http://schemas.microsoft.com/office/drawing/2014/main" id="{C325A4FD-BF3F-4AAE-8261-C25B81447CCF}"/>
              </a:ext>
            </a:extLst>
          </p:cNvPr>
          <p:cNvGrpSpPr/>
          <p:nvPr/>
        </p:nvGrpSpPr>
        <p:grpSpPr>
          <a:xfrm>
            <a:off x="11198614" y="6343198"/>
            <a:ext cx="822960" cy="182880"/>
            <a:chOff x="15867399" y="9251826"/>
            <a:chExt cx="1725920" cy="347510"/>
          </a:xfrm>
        </p:grpSpPr>
        <p:grpSp>
          <p:nvGrpSpPr>
            <p:cNvPr id="12" name="Google Shape;15;p2">
              <a:extLst>
                <a:ext uri="{FF2B5EF4-FFF2-40B4-BE49-F238E27FC236}">
                  <a16:creationId xmlns:a16="http://schemas.microsoft.com/office/drawing/2014/main" id="{AD16EC25-D1EE-4FD6-B2CC-3E66B50B692E}"/>
                </a:ext>
              </a:extLst>
            </p:cNvPr>
            <p:cNvGrpSpPr/>
            <p:nvPr/>
          </p:nvGrpSpPr>
          <p:grpSpPr>
            <a:xfrm>
              <a:off x="16500868" y="9262980"/>
              <a:ext cx="1092451" cy="336217"/>
              <a:chOff x="4940894" y="2609525"/>
              <a:chExt cx="5500759" cy="1694643"/>
            </a:xfrm>
          </p:grpSpPr>
          <p:sp>
            <p:nvSpPr>
              <p:cNvPr id="22" name="Google Shape;16;p2">
                <a:extLst>
                  <a:ext uri="{FF2B5EF4-FFF2-40B4-BE49-F238E27FC236}">
                    <a16:creationId xmlns:a16="http://schemas.microsoft.com/office/drawing/2014/main" id="{3ED6FD9B-F15A-459C-8808-EFE8E019B0C1}"/>
                  </a:ext>
                </a:extLst>
              </p:cNvPr>
              <p:cNvSpPr/>
              <p:nvPr/>
            </p:nvSpPr>
            <p:spPr>
              <a:xfrm>
                <a:off x="4940894" y="2609525"/>
                <a:ext cx="1771710" cy="1664870"/>
              </a:xfrm>
              <a:custGeom>
                <a:avLst/>
                <a:gdLst/>
                <a:ahLst/>
                <a:cxnLst/>
                <a:rect l="l" t="t" r="r" b="b"/>
                <a:pathLst>
                  <a:path w="1771710" h="1664870" extrusionOk="0">
                    <a:moveTo>
                      <a:pt x="0" y="0"/>
                    </a:moveTo>
                    <a:lnTo>
                      <a:pt x="329405" y="0"/>
                    </a:lnTo>
                    <a:lnTo>
                      <a:pt x="889445" y="1013178"/>
                    </a:lnTo>
                    <a:lnTo>
                      <a:pt x="1449486" y="0"/>
                    </a:lnTo>
                    <a:lnTo>
                      <a:pt x="1771711" y="0"/>
                    </a:lnTo>
                    <a:lnTo>
                      <a:pt x="1771711" y="1664870"/>
                    </a:lnTo>
                    <a:lnTo>
                      <a:pt x="1503073" y="1664870"/>
                    </a:lnTo>
                    <a:lnTo>
                      <a:pt x="1503073" y="388983"/>
                    </a:lnTo>
                    <a:lnTo>
                      <a:pt x="1012031" y="1272559"/>
                    </a:lnTo>
                    <a:lnTo>
                      <a:pt x="760030" y="1272559"/>
                    </a:lnTo>
                    <a:lnTo>
                      <a:pt x="268988" y="388983"/>
                    </a:lnTo>
                    <a:lnTo>
                      <a:pt x="268988" y="1664870"/>
                    </a:lnTo>
                    <a:lnTo>
                      <a:pt x="351" y="1664870"/>
                    </a:lnTo>
                    <a:lnTo>
                      <a:pt x="351" y="0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3" name="Google Shape;17;p2">
                <a:extLst>
                  <a:ext uri="{FF2B5EF4-FFF2-40B4-BE49-F238E27FC236}">
                    <a16:creationId xmlns:a16="http://schemas.microsoft.com/office/drawing/2014/main" id="{B95FADB2-2FEF-4EAD-A2C1-78C30EAE495B}"/>
                  </a:ext>
                </a:extLst>
              </p:cNvPr>
              <p:cNvSpPr/>
              <p:nvPr/>
            </p:nvSpPr>
            <p:spPr>
              <a:xfrm>
                <a:off x="6951471" y="3004463"/>
                <a:ext cx="1178571" cy="1299705"/>
              </a:xfrm>
              <a:custGeom>
                <a:avLst/>
                <a:gdLst/>
                <a:ahLst/>
                <a:cxnLst/>
                <a:rect l="l" t="t" r="r" b="b"/>
                <a:pathLst>
                  <a:path w="1178571" h="1299705" extrusionOk="0">
                    <a:moveTo>
                      <a:pt x="627813" y="1299706"/>
                    </a:moveTo>
                    <a:cubicBezTo>
                      <a:pt x="503301" y="1299706"/>
                      <a:pt x="394025" y="1272209"/>
                      <a:pt x="299634" y="1217040"/>
                    </a:cubicBezTo>
                    <a:cubicBezTo>
                      <a:pt x="205243" y="1161871"/>
                      <a:pt x="131692" y="1085686"/>
                      <a:pt x="79155" y="988134"/>
                    </a:cubicBezTo>
                    <a:cubicBezTo>
                      <a:pt x="26444" y="890581"/>
                      <a:pt x="0" y="778843"/>
                      <a:pt x="0" y="652743"/>
                    </a:cubicBezTo>
                    <a:cubicBezTo>
                      <a:pt x="0" y="525066"/>
                      <a:pt x="25743" y="412102"/>
                      <a:pt x="77229" y="313849"/>
                    </a:cubicBezTo>
                    <a:cubicBezTo>
                      <a:pt x="128715" y="215596"/>
                      <a:pt x="200340" y="138710"/>
                      <a:pt x="291929" y="83191"/>
                    </a:cubicBezTo>
                    <a:cubicBezTo>
                      <a:pt x="383517" y="27672"/>
                      <a:pt x="488766" y="0"/>
                      <a:pt x="607674" y="0"/>
                    </a:cubicBezTo>
                    <a:cubicBezTo>
                      <a:pt x="725706" y="0"/>
                      <a:pt x="827452" y="28022"/>
                      <a:pt x="912737" y="83892"/>
                    </a:cubicBezTo>
                    <a:cubicBezTo>
                      <a:pt x="998021" y="139761"/>
                      <a:pt x="1063516" y="218048"/>
                      <a:pt x="1109574" y="318753"/>
                    </a:cubicBezTo>
                    <a:cubicBezTo>
                      <a:pt x="1155455" y="419458"/>
                      <a:pt x="1178572" y="537501"/>
                      <a:pt x="1178572" y="673059"/>
                    </a:cubicBezTo>
                    <a:lnTo>
                      <a:pt x="1178572" y="746792"/>
                    </a:lnTo>
                    <a:lnTo>
                      <a:pt x="266536" y="746792"/>
                    </a:lnTo>
                    <a:cubicBezTo>
                      <a:pt x="283173" y="848373"/>
                      <a:pt x="324151" y="928236"/>
                      <a:pt x="389647" y="986382"/>
                    </a:cubicBezTo>
                    <a:cubicBezTo>
                      <a:pt x="454967" y="1044703"/>
                      <a:pt x="537625" y="1073776"/>
                      <a:pt x="637620" y="1073776"/>
                    </a:cubicBezTo>
                    <a:cubicBezTo>
                      <a:pt x="717650" y="1073776"/>
                      <a:pt x="786649" y="1061867"/>
                      <a:pt x="844439" y="1038048"/>
                    </a:cubicBezTo>
                    <a:cubicBezTo>
                      <a:pt x="902229" y="1014229"/>
                      <a:pt x="956517" y="978151"/>
                      <a:pt x="1007303" y="929812"/>
                    </a:cubicBezTo>
                    <a:lnTo>
                      <a:pt x="1150027" y="1104601"/>
                    </a:lnTo>
                    <a:cubicBezTo>
                      <a:pt x="1008003" y="1234729"/>
                      <a:pt x="833932" y="1299706"/>
                      <a:pt x="627813" y="1299706"/>
                    </a:cubicBezTo>
                    <a:close/>
                    <a:moveTo>
                      <a:pt x="824125" y="312098"/>
                    </a:moveTo>
                    <a:cubicBezTo>
                      <a:pt x="767910" y="254652"/>
                      <a:pt x="694184" y="225929"/>
                      <a:pt x="602945" y="225929"/>
                    </a:cubicBezTo>
                    <a:cubicBezTo>
                      <a:pt x="514159" y="225929"/>
                      <a:pt x="439907" y="255353"/>
                      <a:pt x="380015" y="313849"/>
                    </a:cubicBezTo>
                    <a:cubicBezTo>
                      <a:pt x="320123" y="372521"/>
                      <a:pt x="282297" y="451333"/>
                      <a:pt x="266536" y="550462"/>
                    </a:cubicBezTo>
                    <a:lnTo>
                      <a:pt x="920442" y="550462"/>
                    </a:lnTo>
                    <a:cubicBezTo>
                      <a:pt x="912386" y="449056"/>
                      <a:pt x="880339" y="369543"/>
                      <a:pt x="824125" y="312098"/>
                    </a:cubicBez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4" name="Google Shape;18;p2">
                <a:extLst>
                  <a:ext uri="{FF2B5EF4-FFF2-40B4-BE49-F238E27FC236}">
                    <a16:creationId xmlns:a16="http://schemas.microsoft.com/office/drawing/2014/main" id="{35822119-AF49-4808-B0CD-7DBB9E88F67A}"/>
                  </a:ext>
                </a:extLst>
              </p:cNvPr>
              <p:cNvSpPr/>
              <p:nvPr/>
            </p:nvSpPr>
            <p:spPr>
              <a:xfrm>
                <a:off x="8208497" y="2670123"/>
                <a:ext cx="882090" cy="1631418"/>
              </a:xfrm>
              <a:custGeom>
                <a:avLst/>
                <a:gdLst/>
                <a:ahLst/>
                <a:cxnLst/>
                <a:rect l="l" t="t" r="r" b="b"/>
                <a:pathLst>
                  <a:path w="882090" h="1631418" extrusionOk="0">
                    <a:moveTo>
                      <a:pt x="247273" y="583913"/>
                    </a:moveTo>
                    <a:lnTo>
                      <a:pt x="0" y="583913"/>
                    </a:lnTo>
                    <a:lnTo>
                      <a:pt x="0" y="363939"/>
                    </a:lnTo>
                    <a:lnTo>
                      <a:pt x="247273" y="363939"/>
                    </a:lnTo>
                    <a:lnTo>
                      <a:pt x="247273" y="0"/>
                    </a:lnTo>
                    <a:lnTo>
                      <a:pt x="506453" y="0"/>
                    </a:lnTo>
                    <a:lnTo>
                      <a:pt x="506453" y="363939"/>
                    </a:lnTo>
                    <a:lnTo>
                      <a:pt x="882090" y="363939"/>
                    </a:lnTo>
                    <a:lnTo>
                      <a:pt x="882090" y="583913"/>
                    </a:lnTo>
                    <a:lnTo>
                      <a:pt x="506278" y="583913"/>
                    </a:lnTo>
                    <a:lnTo>
                      <a:pt x="506278" y="1141555"/>
                    </a:lnTo>
                    <a:cubicBezTo>
                      <a:pt x="506278" y="1234379"/>
                      <a:pt x="522214" y="1300581"/>
                      <a:pt x="553912" y="1340163"/>
                    </a:cubicBezTo>
                    <a:cubicBezTo>
                      <a:pt x="585609" y="1379744"/>
                      <a:pt x="639897" y="1399710"/>
                      <a:pt x="716775" y="1399535"/>
                    </a:cubicBezTo>
                    <a:cubicBezTo>
                      <a:pt x="750924" y="1399535"/>
                      <a:pt x="779819" y="1398134"/>
                      <a:pt x="803636" y="1395332"/>
                    </a:cubicBezTo>
                    <a:cubicBezTo>
                      <a:pt x="827452" y="1392529"/>
                      <a:pt x="853546" y="1388851"/>
                      <a:pt x="882090" y="1383948"/>
                    </a:cubicBezTo>
                    <a:lnTo>
                      <a:pt x="882090" y="1601645"/>
                    </a:lnTo>
                    <a:cubicBezTo>
                      <a:pt x="849517" y="1611103"/>
                      <a:pt x="816420" y="1618283"/>
                      <a:pt x="782796" y="1623012"/>
                    </a:cubicBezTo>
                    <a:cubicBezTo>
                      <a:pt x="744444" y="1628616"/>
                      <a:pt x="705742" y="1631419"/>
                      <a:pt x="666865" y="1631419"/>
                    </a:cubicBezTo>
                    <a:cubicBezTo>
                      <a:pt x="387020" y="1631419"/>
                      <a:pt x="247097" y="1478347"/>
                      <a:pt x="247097" y="1172380"/>
                    </a:cubicBezTo>
                    <a:lnTo>
                      <a:pt x="247273" y="583913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5" name="Google Shape;19;p2">
                <a:extLst>
                  <a:ext uri="{FF2B5EF4-FFF2-40B4-BE49-F238E27FC236}">
                    <a16:creationId xmlns:a16="http://schemas.microsoft.com/office/drawing/2014/main" id="{7068C831-E486-40A2-BFA5-A903415A9672}"/>
                  </a:ext>
                </a:extLst>
              </p:cNvPr>
              <p:cNvSpPr/>
              <p:nvPr/>
            </p:nvSpPr>
            <p:spPr>
              <a:xfrm>
                <a:off x="9214573" y="3004463"/>
                <a:ext cx="1227080" cy="1299705"/>
              </a:xfrm>
              <a:custGeom>
                <a:avLst/>
                <a:gdLst/>
                <a:ahLst/>
                <a:cxnLst/>
                <a:rect l="l" t="t" r="r" b="b"/>
                <a:pathLst>
                  <a:path w="1227080" h="1299705" extrusionOk="0">
                    <a:moveTo>
                      <a:pt x="1226906" y="1269932"/>
                    </a:moveTo>
                    <a:lnTo>
                      <a:pt x="972454" y="1269932"/>
                    </a:lnTo>
                    <a:lnTo>
                      <a:pt x="972454" y="1096369"/>
                    </a:lnTo>
                    <a:cubicBezTo>
                      <a:pt x="927272" y="1161346"/>
                      <a:pt x="869832" y="1211611"/>
                      <a:pt x="800134" y="1246814"/>
                    </a:cubicBezTo>
                    <a:cubicBezTo>
                      <a:pt x="730434" y="1282017"/>
                      <a:pt x="651104" y="1299706"/>
                      <a:pt x="562317" y="1299706"/>
                    </a:cubicBezTo>
                    <a:cubicBezTo>
                      <a:pt x="452866" y="1299706"/>
                      <a:pt x="356024" y="1271683"/>
                      <a:pt x="271615" y="1215814"/>
                    </a:cubicBezTo>
                    <a:cubicBezTo>
                      <a:pt x="187206" y="1159945"/>
                      <a:pt x="120834" y="1083059"/>
                      <a:pt x="72501" y="985156"/>
                    </a:cubicBezTo>
                    <a:cubicBezTo>
                      <a:pt x="24167" y="887253"/>
                      <a:pt x="0" y="775340"/>
                      <a:pt x="0" y="649240"/>
                    </a:cubicBezTo>
                    <a:cubicBezTo>
                      <a:pt x="0" y="522439"/>
                      <a:pt x="24517" y="410175"/>
                      <a:pt x="73727" y="312623"/>
                    </a:cubicBezTo>
                    <a:cubicBezTo>
                      <a:pt x="122936" y="215071"/>
                      <a:pt x="190883" y="138710"/>
                      <a:pt x="277569" y="83191"/>
                    </a:cubicBezTo>
                    <a:cubicBezTo>
                      <a:pt x="364429" y="27672"/>
                      <a:pt x="464074" y="0"/>
                      <a:pt x="576678" y="0"/>
                    </a:cubicBezTo>
                    <a:cubicBezTo>
                      <a:pt x="661437" y="0"/>
                      <a:pt x="737615" y="16463"/>
                      <a:pt x="805037" y="49389"/>
                    </a:cubicBezTo>
                    <a:cubicBezTo>
                      <a:pt x="871583" y="81615"/>
                      <a:pt x="929023" y="129603"/>
                      <a:pt x="972629" y="189150"/>
                    </a:cubicBezTo>
                    <a:lnTo>
                      <a:pt x="972629" y="29774"/>
                    </a:lnTo>
                    <a:lnTo>
                      <a:pt x="1227081" y="29774"/>
                    </a:lnTo>
                    <a:lnTo>
                      <a:pt x="1227081" y="1269932"/>
                    </a:lnTo>
                    <a:close/>
                    <a:moveTo>
                      <a:pt x="967550" y="463768"/>
                    </a:moveTo>
                    <a:cubicBezTo>
                      <a:pt x="939705" y="393187"/>
                      <a:pt x="895925" y="337493"/>
                      <a:pt x="836208" y="296685"/>
                    </a:cubicBezTo>
                    <a:cubicBezTo>
                      <a:pt x="776317" y="255878"/>
                      <a:pt x="707144" y="235387"/>
                      <a:pt x="628688" y="235387"/>
                    </a:cubicBezTo>
                    <a:cubicBezTo>
                      <a:pt x="517661" y="235387"/>
                      <a:pt x="429400" y="272691"/>
                      <a:pt x="363554" y="347125"/>
                    </a:cubicBezTo>
                    <a:cubicBezTo>
                      <a:pt x="297708" y="421559"/>
                      <a:pt x="264785" y="522264"/>
                      <a:pt x="264785" y="649240"/>
                    </a:cubicBezTo>
                    <a:cubicBezTo>
                      <a:pt x="264785" y="776916"/>
                      <a:pt x="296482" y="877971"/>
                      <a:pt x="359876" y="952405"/>
                    </a:cubicBezTo>
                    <a:cubicBezTo>
                      <a:pt x="423270" y="1027014"/>
                      <a:pt x="509256" y="1064144"/>
                      <a:pt x="617831" y="1064144"/>
                    </a:cubicBezTo>
                    <a:cubicBezTo>
                      <a:pt x="697862" y="1064144"/>
                      <a:pt x="769137" y="1043477"/>
                      <a:pt x="831830" y="1002320"/>
                    </a:cubicBezTo>
                    <a:cubicBezTo>
                      <a:pt x="894524" y="961162"/>
                      <a:pt x="939705" y="905643"/>
                      <a:pt x="967375" y="835763"/>
                    </a:cubicBezTo>
                    <a:lnTo>
                      <a:pt x="967550" y="463768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</p:grpSp>
        <p:grpSp>
          <p:nvGrpSpPr>
            <p:cNvPr id="14" name="Google Shape;20;p2">
              <a:extLst>
                <a:ext uri="{FF2B5EF4-FFF2-40B4-BE49-F238E27FC236}">
                  <a16:creationId xmlns:a16="http://schemas.microsoft.com/office/drawing/2014/main" id="{94DD7928-3FE6-4DBF-8B63-5DB8EEFBDD37}"/>
                </a:ext>
              </a:extLst>
            </p:cNvPr>
            <p:cNvGrpSpPr/>
            <p:nvPr/>
          </p:nvGrpSpPr>
          <p:grpSpPr>
            <a:xfrm>
              <a:off x="15867399" y="9251826"/>
              <a:ext cx="523393" cy="347510"/>
              <a:chOff x="1751220" y="2553305"/>
              <a:chExt cx="2635412" cy="1751564"/>
            </a:xfrm>
          </p:grpSpPr>
          <p:grpSp>
            <p:nvGrpSpPr>
              <p:cNvPr id="15" name="Google Shape;21;p2">
                <a:extLst>
                  <a:ext uri="{FF2B5EF4-FFF2-40B4-BE49-F238E27FC236}">
                    <a16:creationId xmlns:a16="http://schemas.microsoft.com/office/drawing/2014/main" id="{4B97564F-79C4-43C4-B781-E179FF8B948E}"/>
                  </a:ext>
                </a:extLst>
              </p:cNvPr>
              <p:cNvGrpSpPr/>
              <p:nvPr/>
            </p:nvGrpSpPr>
            <p:grpSpPr>
              <a:xfrm>
                <a:off x="1751220" y="2553305"/>
                <a:ext cx="2635412" cy="1751564"/>
                <a:chOff x="1751220" y="2553305"/>
                <a:chExt cx="2635412" cy="1751564"/>
              </a:xfrm>
            </p:grpSpPr>
            <p:sp>
              <p:nvSpPr>
                <p:cNvPr id="18" name="Google Shape;22;p2">
                  <a:extLst>
                    <a:ext uri="{FF2B5EF4-FFF2-40B4-BE49-F238E27FC236}">
                      <a16:creationId xmlns:a16="http://schemas.microsoft.com/office/drawing/2014/main" id="{07DD8193-B33C-42C3-8CA2-CF48C59A3CC6}"/>
                    </a:ext>
                  </a:extLst>
                </p:cNvPr>
                <p:cNvSpPr/>
                <p:nvPr/>
              </p:nvSpPr>
              <p:spPr>
                <a:xfrm>
                  <a:off x="3069540" y="3101490"/>
                  <a:ext cx="1317092" cy="12033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7092" h="1203379" extrusionOk="0">
                      <a:moveTo>
                        <a:pt x="1277166" y="226980"/>
                      </a:moveTo>
                      <a:lnTo>
                        <a:pt x="1020962" y="226980"/>
                      </a:lnTo>
                      <a:cubicBezTo>
                        <a:pt x="1049682" y="343622"/>
                        <a:pt x="1065618" y="472875"/>
                        <a:pt x="1065618" y="608958"/>
                      </a:cubicBezTo>
                      <a:cubicBezTo>
                        <a:pt x="1065618" y="804588"/>
                        <a:pt x="1001523" y="918253"/>
                        <a:pt x="868780" y="918253"/>
                      </a:cubicBezTo>
                      <a:cubicBezTo>
                        <a:pt x="741467" y="918253"/>
                        <a:pt x="680700" y="834187"/>
                        <a:pt x="439031" y="445378"/>
                      </a:cubicBezTo>
                      <a:lnTo>
                        <a:pt x="284573" y="187749"/>
                      </a:lnTo>
                      <a:cubicBezTo>
                        <a:pt x="242719" y="119795"/>
                        <a:pt x="202616" y="57095"/>
                        <a:pt x="164089" y="0"/>
                      </a:cubicBezTo>
                      <a:lnTo>
                        <a:pt x="21365" y="0"/>
                      </a:lnTo>
                      <a:lnTo>
                        <a:pt x="0" y="277420"/>
                      </a:lnTo>
                      <a:cubicBezTo>
                        <a:pt x="27669" y="322080"/>
                        <a:pt x="56915" y="370244"/>
                        <a:pt x="87561" y="421910"/>
                      </a:cubicBezTo>
                      <a:lnTo>
                        <a:pt x="216801" y="639257"/>
                      </a:lnTo>
                      <a:cubicBezTo>
                        <a:pt x="468452" y="1060466"/>
                        <a:pt x="608724" y="1203379"/>
                        <a:pt x="863002" y="1203379"/>
                      </a:cubicBezTo>
                      <a:cubicBezTo>
                        <a:pt x="1154755" y="1203379"/>
                        <a:pt x="1317093" y="967117"/>
                        <a:pt x="1317093" y="589868"/>
                      </a:cubicBezTo>
                      <a:cubicBezTo>
                        <a:pt x="1316918" y="463417"/>
                        <a:pt x="1302908" y="341346"/>
                        <a:pt x="1277166" y="226980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64E0"/>
                    </a:gs>
                    <a:gs pos="13000">
                      <a:srgbClr val="0064E0"/>
                    </a:gs>
                    <a:gs pos="82000">
                      <a:srgbClr val="2C7FF4"/>
                    </a:gs>
                    <a:gs pos="100000">
                      <a:srgbClr val="2C7FF4"/>
                    </a:gs>
                  </a:gsLst>
                  <a:lin ang="0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19" name="Google Shape;23;p2">
                  <a:extLst>
                    <a:ext uri="{FF2B5EF4-FFF2-40B4-BE49-F238E27FC236}">
                      <a16:creationId xmlns:a16="http://schemas.microsoft.com/office/drawing/2014/main" id="{B6535C75-406E-4C9A-810E-B03663B19C43}"/>
                    </a:ext>
                  </a:extLst>
                </p:cNvPr>
                <p:cNvSpPr/>
                <p:nvPr/>
              </p:nvSpPr>
              <p:spPr>
                <a:xfrm>
                  <a:off x="3091079" y="2553305"/>
                  <a:ext cx="1255800" cy="775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5800" h="775164" extrusionOk="0">
                      <a:moveTo>
                        <a:pt x="533422" y="225929"/>
                      </a:moveTo>
                      <a:cubicBezTo>
                        <a:pt x="741992" y="225929"/>
                        <a:pt x="919916" y="451683"/>
                        <a:pt x="999597" y="775165"/>
                      </a:cubicBezTo>
                      <a:lnTo>
                        <a:pt x="1255801" y="775165"/>
                      </a:lnTo>
                      <a:cubicBezTo>
                        <a:pt x="1155455" y="329086"/>
                        <a:pt x="876311" y="0"/>
                        <a:pt x="551635" y="0"/>
                      </a:cubicBezTo>
                      <a:cubicBezTo>
                        <a:pt x="335534" y="0"/>
                        <a:pt x="166716" y="162704"/>
                        <a:pt x="13660" y="369543"/>
                      </a:cubicBezTo>
                      <a:lnTo>
                        <a:pt x="0" y="548010"/>
                      </a:lnTo>
                      <a:lnTo>
                        <a:pt x="142725" y="548010"/>
                      </a:lnTo>
                      <a:cubicBezTo>
                        <a:pt x="281772" y="332939"/>
                        <a:pt x="396652" y="225929"/>
                        <a:pt x="533422" y="225929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2C7FF4"/>
                    </a:gs>
                    <a:gs pos="13000">
                      <a:srgbClr val="2C7FF4"/>
                    </a:gs>
                    <a:gs pos="100000">
                      <a:srgbClr val="128DFF"/>
                    </a:gs>
                  </a:gsLst>
                  <a:lin ang="10800025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20" name="Google Shape;24;p2">
                  <a:extLst>
                    <a:ext uri="{FF2B5EF4-FFF2-40B4-BE49-F238E27FC236}">
                      <a16:creationId xmlns:a16="http://schemas.microsoft.com/office/drawing/2014/main" id="{3A8B30AD-2D9E-4D1A-8183-AE701DA4C87C}"/>
                    </a:ext>
                  </a:extLst>
                </p:cNvPr>
                <p:cNvSpPr/>
                <p:nvPr/>
              </p:nvSpPr>
              <p:spPr>
                <a:xfrm>
                  <a:off x="1751220" y="2553305"/>
                  <a:ext cx="1353343" cy="1751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53343" h="1751388" extrusionOk="0">
                      <a:moveTo>
                        <a:pt x="757228" y="0"/>
                      </a:moveTo>
                      <a:cubicBezTo>
                        <a:pt x="328529" y="0"/>
                        <a:pt x="0" y="557992"/>
                        <a:pt x="0" y="1148736"/>
                      </a:cubicBezTo>
                      <a:cubicBezTo>
                        <a:pt x="0" y="1518279"/>
                        <a:pt x="178800" y="1751389"/>
                        <a:pt x="478258" y="1751389"/>
                      </a:cubicBezTo>
                      <a:cubicBezTo>
                        <a:pt x="693834" y="1751389"/>
                        <a:pt x="848817" y="1649808"/>
                        <a:pt x="1124459" y="1168001"/>
                      </a:cubicBezTo>
                      <a:cubicBezTo>
                        <a:pt x="1124459" y="1168001"/>
                        <a:pt x="1239339" y="965190"/>
                        <a:pt x="1318319" y="825430"/>
                      </a:cubicBezTo>
                      <a:lnTo>
                        <a:pt x="1318319" y="825430"/>
                      </a:lnTo>
                      <a:lnTo>
                        <a:pt x="1353344" y="369543"/>
                      </a:lnTo>
                      <a:cubicBezTo>
                        <a:pt x="1143197" y="101931"/>
                        <a:pt x="967550" y="0"/>
                        <a:pt x="757228" y="0"/>
                      </a:cubicBezTo>
                      <a:close/>
                      <a:moveTo>
                        <a:pt x="914312" y="1037523"/>
                      </a:moveTo>
                      <a:cubicBezTo>
                        <a:pt x="690857" y="1387800"/>
                        <a:pt x="613628" y="1466263"/>
                        <a:pt x="489116" y="1466263"/>
                      </a:cubicBezTo>
                      <a:cubicBezTo>
                        <a:pt x="361102" y="1466263"/>
                        <a:pt x="284924" y="1353824"/>
                        <a:pt x="284924" y="1153465"/>
                      </a:cubicBezTo>
                      <a:cubicBezTo>
                        <a:pt x="284924" y="724725"/>
                        <a:pt x="498748" y="286177"/>
                        <a:pt x="753550" y="286177"/>
                      </a:cubicBezTo>
                      <a:cubicBezTo>
                        <a:pt x="891547" y="286177"/>
                        <a:pt x="1006952" y="365865"/>
                        <a:pt x="1183475" y="618766"/>
                      </a:cubicBezTo>
                      <a:cubicBezTo>
                        <a:pt x="1015883" y="876220"/>
                        <a:pt x="914312" y="1037523"/>
                        <a:pt x="914312" y="1037523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64E0"/>
                    </a:gs>
                    <a:gs pos="36000">
                      <a:srgbClr val="0064E0"/>
                    </a:gs>
                    <a:gs pos="78000">
                      <a:srgbClr val="128DFF"/>
                    </a:gs>
                    <a:gs pos="100000">
                      <a:srgbClr val="128DFF"/>
                    </a:gs>
                  </a:gsLst>
                  <a:lin ang="1801379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21" name="Google Shape;25;p2">
                  <a:extLst>
                    <a:ext uri="{FF2B5EF4-FFF2-40B4-BE49-F238E27FC236}">
                      <a16:creationId xmlns:a16="http://schemas.microsoft.com/office/drawing/2014/main" id="{1950DF61-E6ED-4817-B1C7-417E081E60D0}"/>
                    </a:ext>
                  </a:extLst>
                </p:cNvPr>
                <p:cNvSpPr/>
                <p:nvPr/>
              </p:nvSpPr>
              <p:spPr>
                <a:xfrm>
                  <a:off x="2504771" y="2553305"/>
                  <a:ext cx="849517" cy="10023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9517" h="1002319" extrusionOk="0">
                      <a:moveTo>
                        <a:pt x="849517" y="735758"/>
                      </a:moveTo>
                      <a:cubicBezTo>
                        <a:pt x="514509" y="190901"/>
                        <a:pt x="291578" y="0"/>
                        <a:pt x="3678" y="0"/>
                      </a:cubicBezTo>
                      <a:lnTo>
                        <a:pt x="0" y="286177"/>
                      </a:lnTo>
                      <a:cubicBezTo>
                        <a:pt x="188431" y="286177"/>
                        <a:pt x="334483" y="434695"/>
                        <a:pt x="652155" y="969744"/>
                      </a:cubicBezTo>
                      <a:lnTo>
                        <a:pt x="671593" y="1002320"/>
                      </a:lnTo>
                      <a:lnTo>
                        <a:pt x="849517" y="735758"/>
                      </a:lnTo>
                      <a:close/>
                    </a:path>
                  </a:pathLst>
                </a:custGeom>
                <a:solidFill>
                  <a:srgbClr val="0064E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</p:grpSp>
          <p:sp>
            <p:nvSpPr>
              <p:cNvPr id="17" name="Google Shape;26;p2">
                <a:extLst>
                  <a:ext uri="{FF2B5EF4-FFF2-40B4-BE49-F238E27FC236}">
                    <a16:creationId xmlns:a16="http://schemas.microsoft.com/office/drawing/2014/main" id="{D3D18760-C515-4296-816A-66A5CD47A886}"/>
                  </a:ext>
                </a:extLst>
              </p:cNvPr>
              <p:cNvSpPr/>
              <p:nvPr/>
            </p:nvSpPr>
            <p:spPr>
              <a:xfrm>
                <a:off x="4034812" y="3064536"/>
                <a:ext cx="329229" cy="361311"/>
              </a:xfrm>
              <a:custGeom>
                <a:avLst/>
                <a:gdLst/>
                <a:ahLst/>
                <a:cxnLst/>
                <a:rect l="l" t="t" r="r" b="b"/>
                <a:pathLst>
                  <a:path w="329229" h="361311" extrusionOk="0">
                    <a:moveTo>
                      <a:pt x="311893" y="263934"/>
                    </a:moveTo>
                    <a:lnTo>
                      <a:pt x="311893" y="263934"/>
                    </a:lnTo>
                    <a:cubicBezTo>
                      <a:pt x="291053" y="170060"/>
                      <a:pt x="261983" y="81440"/>
                      <a:pt x="226258" y="0"/>
                    </a:cubicBezTo>
                    <a:lnTo>
                      <a:pt x="0" y="90547"/>
                    </a:lnTo>
                    <a:cubicBezTo>
                      <a:pt x="21890" y="144139"/>
                      <a:pt x="40628" y="202285"/>
                      <a:pt x="55864" y="263934"/>
                    </a:cubicBezTo>
                    <a:lnTo>
                      <a:pt x="55689" y="263934"/>
                    </a:lnTo>
                    <a:cubicBezTo>
                      <a:pt x="63394" y="295459"/>
                      <a:pt x="70224" y="328035"/>
                      <a:pt x="76003" y="361311"/>
                    </a:cubicBezTo>
                    <a:lnTo>
                      <a:pt x="329230" y="353080"/>
                    </a:lnTo>
                    <a:cubicBezTo>
                      <a:pt x="324326" y="322781"/>
                      <a:pt x="318547" y="293183"/>
                      <a:pt x="311893" y="263934"/>
                    </a:cubicBezTo>
                    <a:close/>
                  </a:path>
                </a:pathLst>
              </a:custGeom>
              <a:solidFill>
                <a:srgbClr val="2C7FF4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</p:grp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766EB2E-760C-4376-8752-7B81620A24FE}"/>
              </a:ext>
            </a:extLst>
          </p:cNvPr>
          <p:cNvSpPr txBox="1"/>
          <p:nvPr/>
        </p:nvSpPr>
        <p:spPr>
          <a:xfrm>
            <a:off x="914400" y="6270332"/>
            <a:ext cx="60935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 – Analytic-Edge Models</a:t>
            </a:r>
          </a:p>
        </p:txBody>
      </p:sp>
    </p:spTree>
    <p:extLst>
      <p:ext uri="{BB962C8B-B14F-4D97-AF65-F5344CB8AC3E}">
        <p14:creationId xmlns:p14="http://schemas.microsoft.com/office/powerpoint/2010/main" val="3291777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D248C7-7D50-4079-BF1C-58D9AD79EC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1" i="0" u="none" strike="noStrike" kern="1200" cap="none" spc="0" normalizeH="0" baseline="0" noProof="0" smtClean="0">
                <a:ln>
                  <a:noFill/>
                </a:ln>
                <a:solidFill>
                  <a:srgbClr val="186A43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IN" sz="800" b="1" i="0" u="none" strike="noStrike" kern="1200" cap="none" spc="0" normalizeH="0" baseline="0" noProof="0">
              <a:ln>
                <a:noFill/>
              </a:ln>
              <a:solidFill>
                <a:srgbClr val="186A43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B9C0A24-76DD-4626-9E93-77DCBCC0E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First time activations from Model  – First Time Activations KPI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C532A4-467E-4251-92AA-463EDB66D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186A43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A6779CD-F375-4855-AA3E-19C3C4C3FF5B}"/>
              </a:ext>
            </a:extLst>
          </p:cNvPr>
          <p:cNvSpPr txBox="1">
            <a:spLocks/>
          </p:cNvSpPr>
          <p:nvPr/>
        </p:nvSpPr>
        <p:spPr>
          <a:xfrm>
            <a:off x="937377" y="830696"/>
            <a:ext cx="10623418" cy="3960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+</a:t>
            </a: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07B62AA2-4A5C-4D0A-8C39-7864B42293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3895277"/>
              </p:ext>
            </p:extLst>
          </p:nvPr>
        </p:nvGraphicFramePr>
        <p:xfrm>
          <a:off x="695722" y="1084209"/>
          <a:ext cx="10654698" cy="5036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1" name="Google Shape;14;p2">
            <a:extLst>
              <a:ext uri="{FF2B5EF4-FFF2-40B4-BE49-F238E27FC236}">
                <a16:creationId xmlns:a16="http://schemas.microsoft.com/office/drawing/2014/main" id="{C325A4FD-BF3F-4AAE-8261-C25B81447CCF}"/>
              </a:ext>
            </a:extLst>
          </p:cNvPr>
          <p:cNvGrpSpPr/>
          <p:nvPr/>
        </p:nvGrpSpPr>
        <p:grpSpPr>
          <a:xfrm>
            <a:off x="11198614" y="6343198"/>
            <a:ext cx="822960" cy="182880"/>
            <a:chOff x="15867399" y="9251826"/>
            <a:chExt cx="1725920" cy="347510"/>
          </a:xfrm>
        </p:grpSpPr>
        <p:grpSp>
          <p:nvGrpSpPr>
            <p:cNvPr id="12" name="Google Shape;15;p2">
              <a:extLst>
                <a:ext uri="{FF2B5EF4-FFF2-40B4-BE49-F238E27FC236}">
                  <a16:creationId xmlns:a16="http://schemas.microsoft.com/office/drawing/2014/main" id="{AD16EC25-D1EE-4FD6-B2CC-3E66B50B692E}"/>
                </a:ext>
              </a:extLst>
            </p:cNvPr>
            <p:cNvGrpSpPr/>
            <p:nvPr/>
          </p:nvGrpSpPr>
          <p:grpSpPr>
            <a:xfrm>
              <a:off x="16500868" y="9262980"/>
              <a:ext cx="1092451" cy="336217"/>
              <a:chOff x="4940894" y="2609525"/>
              <a:chExt cx="5500759" cy="1694643"/>
            </a:xfrm>
          </p:grpSpPr>
          <p:sp>
            <p:nvSpPr>
              <p:cNvPr id="22" name="Google Shape;16;p2">
                <a:extLst>
                  <a:ext uri="{FF2B5EF4-FFF2-40B4-BE49-F238E27FC236}">
                    <a16:creationId xmlns:a16="http://schemas.microsoft.com/office/drawing/2014/main" id="{3ED6FD9B-F15A-459C-8808-EFE8E019B0C1}"/>
                  </a:ext>
                </a:extLst>
              </p:cNvPr>
              <p:cNvSpPr/>
              <p:nvPr/>
            </p:nvSpPr>
            <p:spPr>
              <a:xfrm>
                <a:off x="4940894" y="2609525"/>
                <a:ext cx="1771710" cy="1664870"/>
              </a:xfrm>
              <a:custGeom>
                <a:avLst/>
                <a:gdLst/>
                <a:ahLst/>
                <a:cxnLst/>
                <a:rect l="l" t="t" r="r" b="b"/>
                <a:pathLst>
                  <a:path w="1771710" h="1664870" extrusionOk="0">
                    <a:moveTo>
                      <a:pt x="0" y="0"/>
                    </a:moveTo>
                    <a:lnTo>
                      <a:pt x="329405" y="0"/>
                    </a:lnTo>
                    <a:lnTo>
                      <a:pt x="889445" y="1013178"/>
                    </a:lnTo>
                    <a:lnTo>
                      <a:pt x="1449486" y="0"/>
                    </a:lnTo>
                    <a:lnTo>
                      <a:pt x="1771711" y="0"/>
                    </a:lnTo>
                    <a:lnTo>
                      <a:pt x="1771711" y="1664870"/>
                    </a:lnTo>
                    <a:lnTo>
                      <a:pt x="1503073" y="1664870"/>
                    </a:lnTo>
                    <a:lnTo>
                      <a:pt x="1503073" y="388983"/>
                    </a:lnTo>
                    <a:lnTo>
                      <a:pt x="1012031" y="1272559"/>
                    </a:lnTo>
                    <a:lnTo>
                      <a:pt x="760030" y="1272559"/>
                    </a:lnTo>
                    <a:lnTo>
                      <a:pt x="268988" y="388983"/>
                    </a:lnTo>
                    <a:lnTo>
                      <a:pt x="268988" y="1664870"/>
                    </a:lnTo>
                    <a:lnTo>
                      <a:pt x="351" y="1664870"/>
                    </a:lnTo>
                    <a:lnTo>
                      <a:pt x="351" y="0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3" name="Google Shape;17;p2">
                <a:extLst>
                  <a:ext uri="{FF2B5EF4-FFF2-40B4-BE49-F238E27FC236}">
                    <a16:creationId xmlns:a16="http://schemas.microsoft.com/office/drawing/2014/main" id="{B95FADB2-2FEF-4EAD-A2C1-78C30EAE495B}"/>
                  </a:ext>
                </a:extLst>
              </p:cNvPr>
              <p:cNvSpPr/>
              <p:nvPr/>
            </p:nvSpPr>
            <p:spPr>
              <a:xfrm>
                <a:off x="6951471" y="3004463"/>
                <a:ext cx="1178571" cy="1299705"/>
              </a:xfrm>
              <a:custGeom>
                <a:avLst/>
                <a:gdLst/>
                <a:ahLst/>
                <a:cxnLst/>
                <a:rect l="l" t="t" r="r" b="b"/>
                <a:pathLst>
                  <a:path w="1178571" h="1299705" extrusionOk="0">
                    <a:moveTo>
                      <a:pt x="627813" y="1299706"/>
                    </a:moveTo>
                    <a:cubicBezTo>
                      <a:pt x="503301" y="1299706"/>
                      <a:pt x="394025" y="1272209"/>
                      <a:pt x="299634" y="1217040"/>
                    </a:cubicBezTo>
                    <a:cubicBezTo>
                      <a:pt x="205243" y="1161871"/>
                      <a:pt x="131692" y="1085686"/>
                      <a:pt x="79155" y="988134"/>
                    </a:cubicBezTo>
                    <a:cubicBezTo>
                      <a:pt x="26444" y="890581"/>
                      <a:pt x="0" y="778843"/>
                      <a:pt x="0" y="652743"/>
                    </a:cubicBezTo>
                    <a:cubicBezTo>
                      <a:pt x="0" y="525066"/>
                      <a:pt x="25743" y="412102"/>
                      <a:pt x="77229" y="313849"/>
                    </a:cubicBezTo>
                    <a:cubicBezTo>
                      <a:pt x="128715" y="215596"/>
                      <a:pt x="200340" y="138710"/>
                      <a:pt x="291929" y="83191"/>
                    </a:cubicBezTo>
                    <a:cubicBezTo>
                      <a:pt x="383517" y="27672"/>
                      <a:pt x="488766" y="0"/>
                      <a:pt x="607674" y="0"/>
                    </a:cubicBezTo>
                    <a:cubicBezTo>
                      <a:pt x="725706" y="0"/>
                      <a:pt x="827452" y="28022"/>
                      <a:pt x="912737" y="83892"/>
                    </a:cubicBezTo>
                    <a:cubicBezTo>
                      <a:pt x="998021" y="139761"/>
                      <a:pt x="1063516" y="218048"/>
                      <a:pt x="1109574" y="318753"/>
                    </a:cubicBezTo>
                    <a:cubicBezTo>
                      <a:pt x="1155455" y="419458"/>
                      <a:pt x="1178572" y="537501"/>
                      <a:pt x="1178572" y="673059"/>
                    </a:cubicBezTo>
                    <a:lnTo>
                      <a:pt x="1178572" y="746792"/>
                    </a:lnTo>
                    <a:lnTo>
                      <a:pt x="266536" y="746792"/>
                    </a:lnTo>
                    <a:cubicBezTo>
                      <a:pt x="283173" y="848373"/>
                      <a:pt x="324151" y="928236"/>
                      <a:pt x="389647" y="986382"/>
                    </a:cubicBezTo>
                    <a:cubicBezTo>
                      <a:pt x="454967" y="1044703"/>
                      <a:pt x="537625" y="1073776"/>
                      <a:pt x="637620" y="1073776"/>
                    </a:cubicBezTo>
                    <a:cubicBezTo>
                      <a:pt x="717650" y="1073776"/>
                      <a:pt x="786649" y="1061867"/>
                      <a:pt x="844439" y="1038048"/>
                    </a:cubicBezTo>
                    <a:cubicBezTo>
                      <a:pt x="902229" y="1014229"/>
                      <a:pt x="956517" y="978151"/>
                      <a:pt x="1007303" y="929812"/>
                    </a:cubicBezTo>
                    <a:lnTo>
                      <a:pt x="1150027" y="1104601"/>
                    </a:lnTo>
                    <a:cubicBezTo>
                      <a:pt x="1008003" y="1234729"/>
                      <a:pt x="833932" y="1299706"/>
                      <a:pt x="627813" y="1299706"/>
                    </a:cubicBezTo>
                    <a:close/>
                    <a:moveTo>
                      <a:pt x="824125" y="312098"/>
                    </a:moveTo>
                    <a:cubicBezTo>
                      <a:pt x="767910" y="254652"/>
                      <a:pt x="694184" y="225929"/>
                      <a:pt x="602945" y="225929"/>
                    </a:cubicBezTo>
                    <a:cubicBezTo>
                      <a:pt x="514159" y="225929"/>
                      <a:pt x="439907" y="255353"/>
                      <a:pt x="380015" y="313849"/>
                    </a:cubicBezTo>
                    <a:cubicBezTo>
                      <a:pt x="320123" y="372521"/>
                      <a:pt x="282297" y="451333"/>
                      <a:pt x="266536" y="550462"/>
                    </a:cubicBezTo>
                    <a:lnTo>
                      <a:pt x="920442" y="550462"/>
                    </a:lnTo>
                    <a:cubicBezTo>
                      <a:pt x="912386" y="449056"/>
                      <a:pt x="880339" y="369543"/>
                      <a:pt x="824125" y="312098"/>
                    </a:cubicBez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4" name="Google Shape;18;p2">
                <a:extLst>
                  <a:ext uri="{FF2B5EF4-FFF2-40B4-BE49-F238E27FC236}">
                    <a16:creationId xmlns:a16="http://schemas.microsoft.com/office/drawing/2014/main" id="{35822119-AF49-4808-B0CD-7DBB9E88F67A}"/>
                  </a:ext>
                </a:extLst>
              </p:cNvPr>
              <p:cNvSpPr/>
              <p:nvPr/>
            </p:nvSpPr>
            <p:spPr>
              <a:xfrm>
                <a:off x="8208497" y="2670123"/>
                <a:ext cx="882090" cy="1631418"/>
              </a:xfrm>
              <a:custGeom>
                <a:avLst/>
                <a:gdLst/>
                <a:ahLst/>
                <a:cxnLst/>
                <a:rect l="l" t="t" r="r" b="b"/>
                <a:pathLst>
                  <a:path w="882090" h="1631418" extrusionOk="0">
                    <a:moveTo>
                      <a:pt x="247273" y="583913"/>
                    </a:moveTo>
                    <a:lnTo>
                      <a:pt x="0" y="583913"/>
                    </a:lnTo>
                    <a:lnTo>
                      <a:pt x="0" y="363939"/>
                    </a:lnTo>
                    <a:lnTo>
                      <a:pt x="247273" y="363939"/>
                    </a:lnTo>
                    <a:lnTo>
                      <a:pt x="247273" y="0"/>
                    </a:lnTo>
                    <a:lnTo>
                      <a:pt x="506453" y="0"/>
                    </a:lnTo>
                    <a:lnTo>
                      <a:pt x="506453" y="363939"/>
                    </a:lnTo>
                    <a:lnTo>
                      <a:pt x="882090" y="363939"/>
                    </a:lnTo>
                    <a:lnTo>
                      <a:pt x="882090" y="583913"/>
                    </a:lnTo>
                    <a:lnTo>
                      <a:pt x="506278" y="583913"/>
                    </a:lnTo>
                    <a:lnTo>
                      <a:pt x="506278" y="1141555"/>
                    </a:lnTo>
                    <a:cubicBezTo>
                      <a:pt x="506278" y="1234379"/>
                      <a:pt x="522214" y="1300581"/>
                      <a:pt x="553912" y="1340163"/>
                    </a:cubicBezTo>
                    <a:cubicBezTo>
                      <a:pt x="585609" y="1379744"/>
                      <a:pt x="639897" y="1399710"/>
                      <a:pt x="716775" y="1399535"/>
                    </a:cubicBezTo>
                    <a:cubicBezTo>
                      <a:pt x="750924" y="1399535"/>
                      <a:pt x="779819" y="1398134"/>
                      <a:pt x="803636" y="1395332"/>
                    </a:cubicBezTo>
                    <a:cubicBezTo>
                      <a:pt x="827452" y="1392529"/>
                      <a:pt x="853546" y="1388851"/>
                      <a:pt x="882090" y="1383948"/>
                    </a:cubicBezTo>
                    <a:lnTo>
                      <a:pt x="882090" y="1601645"/>
                    </a:lnTo>
                    <a:cubicBezTo>
                      <a:pt x="849517" y="1611103"/>
                      <a:pt x="816420" y="1618283"/>
                      <a:pt x="782796" y="1623012"/>
                    </a:cubicBezTo>
                    <a:cubicBezTo>
                      <a:pt x="744444" y="1628616"/>
                      <a:pt x="705742" y="1631419"/>
                      <a:pt x="666865" y="1631419"/>
                    </a:cubicBezTo>
                    <a:cubicBezTo>
                      <a:pt x="387020" y="1631419"/>
                      <a:pt x="247097" y="1478347"/>
                      <a:pt x="247097" y="1172380"/>
                    </a:cubicBezTo>
                    <a:lnTo>
                      <a:pt x="247273" y="583913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5" name="Google Shape;19;p2">
                <a:extLst>
                  <a:ext uri="{FF2B5EF4-FFF2-40B4-BE49-F238E27FC236}">
                    <a16:creationId xmlns:a16="http://schemas.microsoft.com/office/drawing/2014/main" id="{7068C831-E486-40A2-BFA5-A903415A9672}"/>
                  </a:ext>
                </a:extLst>
              </p:cNvPr>
              <p:cNvSpPr/>
              <p:nvPr/>
            </p:nvSpPr>
            <p:spPr>
              <a:xfrm>
                <a:off x="9214573" y="3004463"/>
                <a:ext cx="1227080" cy="1299705"/>
              </a:xfrm>
              <a:custGeom>
                <a:avLst/>
                <a:gdLst/>
                <a:ahLst/>
                <a:cxnLst/>
                <a:rect l="l" t="t" r="r" b="b"/>
                <a:pathLst>
                  <a:path w="1227080" h="1299705" extrusionOk="0">
                    <a:moveTo>
                      <a:pt x="1226906" y="1269932"/>
                    </a:moveTo>
                    <a:lnTo>
                      <a:pt x="972454" y="1269932"/>
                    </a:lnTo>
                    <a:lnTo>
                      <a:pt x="972454" y="1096369"/>
                    </a:lnTo>
                    <a:cubicBezTo>
                      <a:pt x="927272" y="1161346"/>
                      <a:pt x="869832" y="1211611"/>
                      <a:pt x="800134" y="1246814"/>
                    </a:cubicBezTo>
                    <a:cubicBezTo>
                      <a:pt x="730434" y="1282017"/>
                      <a:pt x="651104" y="1299706"/>
                      <a:pt x="562317" y="1299706"/>
                    </a:cubicBezTo>
                    <a:cubicBezTo>
                      <a:pt x="452866" y="1299706"/>
                      <a:pt x="356024" y="1271683"/>
                      <a:pt x="271615" y="1215814"/>
                    </a:cubicBezTo>
                    <a:cubicBezTo>
                      <a:pt x="187206" y="1159945"/>
                      <a:pt x="120834" y="1083059"/>
                      <a:pt x="72501" y="985156"/>
                    </a:cubicBezTo>
                    <a:cubicBezTo>
                      <a:pt x="24167" y="887253"/>
                      <a:pt x="0" y="775340"/>
                      <a:pt x="0" y="649240"/>
                    </a:cubicBezTo>
                    <a:cubicBezTo>
                      <a:pt x="0" y="522439"/>
                      <a:pt x="24517" y="410175"/>
                      <a:pt x="73727" y="312623"/>
                    </a:cubicBezTo>
                    <a:cubicBezTo>
                      <a:pt x="122936" y="215071"/>
                      <a:pt x="190883" y="138710"/>
                      <a:pt x="277569" y="83191"/>
                    </a:cubicBezTo>
                    <a:cubicBezTo>
                      <a:pt x="364429" y="27672"/>
                      <a:pt x="464074" y="0"/>
                      <a:pt x="576678" y="0"/>
                    </a:cubicBezTo>
                    <a:cubicBezTo>
                      <a:pt x="661437" y="0"/>
                      <a:pt x="737615" y="16463"/>
                      <a:pt x="805037" y="49389"/>
                    </a:cubicBezTo>
                    <a:cubicBezTo>
                      <a:pt x="871583" y="81615"/>
                      <a:pt x="929023" y="129603"/>
                      <a:pt x="972629" y="189150"/>
                    </a:cubicBezTo>
                    <a:lnTo>
                      <a:pt x="972629" y="29774"/>
                    </a:lnTo>
                    <a:lnTo>
                      <a:pt x="1227081" y="29774"/>
                    </a:lnTo>
                    <a:lnTo>
                      <a:pt x="1227081" y="1269932"/>
                    </a:lnTo>
                    <a:close/>
                    <a:moveTo>
                      <a:pt x="967550" y="463768"/>
                    </a:moveTo>
                    <a:cubicBezTo>
                      <a:pt x="939705" y="393187"/>
                      <a:pt x="895925" y="337493"/>
                      <a:pt x="836208" y="296685"/>
                    </a:cubicBezTo>
                    <a:cubicBezTo>
                      <a:pt x="776317" y="255878"/>
                      <a:pt x="707144" y="235387"/>
                      <a:pt x="628688" y="235387"/>
                    </a:cubicBezTo>
                    <a:cubicBezTo>
                      <a:pt x="517661" y="235387"/>
                      <a:pt x="429400" y="272691"/>
                      <a:pt x="363554" y="347125"/>
                    </a:cubicBezTo>
                    <a:cubicBezTo>
                      <a:pt x="297708" y="421559"/>
                      <a:pt x="264785" y="522264"/>
                      <a:pt x="264785" y="649240"/>
                    </a:cubicBezTo>
                    <a:cubicBezTo>
                      <a:pt x="264785" y="776916"/>
                      <a:pt x="296482" y="877971"/>
                      <a:pt x="359876" y="952405"/>
                    </a:cubicBezTo>
                    <a:cubicBezTo>
                      <a:pt x="423270" y="1027014"/>
                      <a:pt x="509256" y="1064144"/>
                      <a:pt x="617831" y="1064144"/>
                    </a:cubicBezTo>
                    <a:cubicBezTo>
                      <a:pt x="697862" y="1064144"/>
                      <a:pt x="769137" y="1043477"/>
                      <a:pt x="831830" y="1002320"/>
                    </a:cubicBezTo>
                    <a:cubicBezTo>
                      <a:pt x="894524" y="961162"/>
                      <a:pt x="939705" y="905643"/>
                      <a:pt x="967375" y="835763"/>
                    </a:cubicBezTo>
                    <a:lnTo>
                      <a:pt x="967550" y="463768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</p:grpSp>
        <p:grpSp>
          <p:nvGrpSpPr>
            <p:cNvPr id="14" name="Google Shape;20;p2">
              <a:extLst>
                <a:ext uri="{FF2B5EF4-FFF2-40B4-BE49-F238E27FC236}">
                  <a16:creationId xmlns:a16="http://schemas.microsoft.com/office/drawing/2014/main" id="{94DD7928-3FE6-4DBF-8B63-5DB8EEFBDD37}"/>
                </a:ext>
              </a:extLst>
            </p:cNvPr>
            <p:cNvGrpSpPr/>
            <p:nvPr/>
          </p:nvGrpSpPr>
          <p:grpSpPr>
            <a:xfrm>
              <a:off x="15867399" y="9251826"/>
              <a:ext cx="523393" cy="347510"/>
              <a:chOff x="1751220" y="2553305"/>
              <a:chExt cx="2635412" cy="1751564"/>
            </a:xfrm>
          </p:grpSpPr>
          <p:grpSp>
            <p:nvGrpSpPr>
              <p:cNvPr id="15" name="Google Shape;21;p2">
                <a:extLst>
                  <a:ext uri="{FF2B5EF4-FFF2-40B4-BE49-F238E27FC236}">
                    <a16:creationId xmlns:a16="http://schemas.microsoft.com/office/drawing/2014/main" id="{4B97564F-79C4-43C4-B781-E179FF8B948E}"/>
                  </a:ext>
                </a:extLst>
              </p:cNvPr>
              <p:cNvGrpSpPr/>
              <p:nvPr/>
            </p:nvGrpSpPr>
            <p:grpSpPr>
              <a:xfrm>
                <a:off x="1751220" y="2553305"/>
                <a:ext cx="2635412" cy="1751564"/>
                <a:chOff x="1751220" y="2553305"/>
                <a:chExt cx="2635412" cy="1751564"/>
              </a:xfrm>
            </p:grpSpPr>
            <p:sp>
              <p:nvSpPr>
                <p:cNvPr id="18" name="Google Shape;22;p2">
                  <a:extLst>
                    <a:ext uri="{FF2B5EF4-FFF2-40B4-BE49-F238E27FC236}">
                      <a16:creationId xmlns:a16="http://schemas.microsoft.com/office/drawing/2014/main" id="{07DD8193-B33C-42C3-8CA2-CF48C59A3CC6}"/>
                    </a:ext>
                  </a:extLst>
                </p:cNvPr>
                <p:cNvSpPr/>
                <p:nvPr/>
              </p:nvSpPr>
              <p:spPr>
                <a:xfrm>
                  <a:off x="3069540" y="3101490"/>
                  <a:ext cx="1317092" cy="12033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7092" h="1203379" extrusionOk="0">
                      <a:moveTo>
                        <a:pt x="1277166" y="226980"/>
                      </a:moveTo>
                      <a:lnTo>
                        <a:pt x="1020962" y="226980"/>
                      </a:lnTo>
                      <a:cubicBezTo>
                        <a:pt x="1049682" y="343622"/>
                        <a:pt x="1065618" y="472875"/>
                        <a:pt x="1065618" y="608958"/>
                      </a:cubicBezTo>
                      <a:cubicBezTo>
                        <a:pt x="1065618" y="804588"/>
                        <a:pt x="1001523" y="918253"/>
                        <a:pt x="868780" y="918253"/>
                      </a:cubicBezTo>
                      <a:cubicBezTo>
                        <a:pt x="741467" y="918253"/>
                        <a:pt x="680700" y="834187"/>
                        <a:pt x="439031" y="445378"/>
                      </a:cubicBezTo>
                      <a:lnTo>
                        <a:pt x="284573" y="187749"/>
                      </a:lnTo>
                      <a:cubicBezTo>
                        <a:pt x="242719" y="119795"/>
                        <a:pt x="202616" y="57095"/>
                        <a:pt x="164089" y="0"/>
                      </a:cubicBezTo>
                      <a:lnTo>
                        <a:pt x="21365" y="0"/>
                      </a:lnTo>
                      <a:lnTo>
                        <a:pt x="0" y="277420"/>
                      </a:lnTo>
                      <a:cubicBezTo>
                        <a:pt x="27669" y="322080"/>
                        <a:pt x="56915" y="370244"/>
                        <a:pt x="87561" y="421910"/>
                      </a:cubicBezTo>
                      <a:lnTo>
                        <a:pt x="216801" y="639257"/>
                      </a:lnTo>
                      <a:cubicBezTo>
                        <a:pt x="468452" y="1060466"/>
                        <a:pt x="608724" y="1203379"/>
                        <a:pt x="863002" y="1203379"/>
                      </a:cubicBezTo>
                      <a:cubicBezTo>
                        <a:pt x="1154755" y="1203379"/>
                        <a:pt x="1317093" y="967117"/>
                        <a:pt x="1317093" y="589868"/>
                      </a:cubicBezTo>
                      <a:cubicBezTo>
                        <a:pt x="1316918" y="463417"/>
                        <a:pt x="1302908" y="341346"/>
                        <a:pt x="1277166" y="226980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64E0"/>
                    </a:gs>
                    <a:gs pos="13000">
                      <a:srgbClr val="0064E0"/>
                    </a:gs>
                    <a:gs pos="82000">
                      <a:srgbClr val="2C7FF4"/>
                    </a:gs>
                    <a:gs pos="100000">
                      <a:srgbClr val="2C7FF4"/>
                    </a:gs>
                  </a:gsLst>
                  <a:lin ang="0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19" name="Google Shape;23;p2">
                  <a:extLst>
                    <a:ext uri="{FF2B5EF4-FFF2-40B4-BE49-F238E27FC236}">
                      <a16:creationId xmlns:a16="http://schemas.microsoft.com/office/drawing/2014/main" id="{B6535C75-406E-4C9A-810E-B03663B19C43}"/>
                    </a:ext>
                  </a:extLst>
                </p:cNvPr>
                <p:cNvSpPr/>
                <p:nvPr/>
              </p:nvSpPr>
              <p:spPr>
                <a:xfrm>
                  <a:off x="3091079" y="2553305"/>
                  <a:ext cx="1255800" cy="775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5800" h="775164" extrusionOk="0">
                      <a:moveTo>
                        <a:pt x="533422" y="225929"/>
                      </a:moveTo>
                      <a:cubicBezTo>
                        <a:pt x="741992" y="225929"/>
                        <a:pt x="919916" y="451683"/>
                        <a:pt x="999597" y="775165"/>
                      </a:cubicBezTo>
                      <a:lnTo>
                        <a:pt x="1255801" y="775165"/>
                      </a:lnTo>
                      <a:cubicBezTo>
                        <a:pt x="1155455" y="329086"/>
                        <a:pt x="876311" y="0"/>
                        <a:pt x="551635" y="0"/>
                      </a:cubicBezTo>
                      <a:cubicBezTo>
                        <a:pt x="335534" y="0"/>
                        <a:pt x="166716" y="162704"/>
                        <a:pt x="13660" y="369543"/>
                      </a:cubicBezTo>
                      <a:lnTo>
                        <a:pt x="0" y="548010"/>
                      </a:lnTo>
                      <a:lnTo>
                        <a:pt x="142725" y="548010"/>
                      </a:lnTo>
                      <a:cubicBezTo>
                        <a:pt x="281772" y="332939"/>
                        <a:pt x="396652" y="225929"/>
                        <a:pt x="533422" y="225929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2C7FF4"/>
                    </a:gs>
                    <a:gs pos="13000">
                      <a:srgbClr val="2C7FF4"/>
                    </a:gs>
                    <a:gs pos="100000">
                      <a:srgbClr val="128DFF"/>
                    </a:gs>
                  </a:gsLst>
                  <a:lin ang="10800025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20" name="Google Shape;24;p2">
                  <a:extLst>
                    <a:ext uri="{FF2B5EF4-FFF2-40B4-BE49-F238E27FC236}">
                      <a16:creationId xmlns:a16="http://schemas.microsoft.com/office/drawing/2014/main" id="{3A8B30AD-2D9E-4D1A-8183-AE701DA4C87C}"/>
                    </a:ext>
                  </a:extLst>
                </p:cNvPr>
                <p:cNvSpPr/>
                <p:nvPr/>
              </p:nvSpPr>
              <p:spPr>
                <a:xfrm>
                  <a:off x="1751220" y="2553305"/>
                  <a:ext cx="1353343" cy="1751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53343" h="1751388" extrusionOk="0">
                      <a:moveTo>
                        <a:pt x="757228" y="0"/>
                      </a:moveTo>
                      <a:cubicBezTo>
                        <a:pt x="328529" y="0"/>
                        <a:pt x="0" y="557992"/>
                        <a:pt x="0" y="1148736"/>
                      </a:cubicBezTo>
                      <a:cubicBezTo>
                        <a:pt x="0" y="1518279"/>
                        <a:pt x="178800" y="1751389"/>
                        <a:pt x="478258" y="1751389"/>
                      </a:cubicBezTo>
                      <a:cubicBezTo>
                        <a:pt x="693834" y="1751389"/>
                        <a:pt x="848817" y="1649808"/>
                        <a:pt x="1124459" y="1168001"/>
                      </a:cubicBezTo>
                      <a:cubicBezTo>
                        <a:pt x="1124459" y="1168001"/>
                        <a:pt x="1239339" y="965190"/>
                        <a:pt x="1318319" y="825430"/>
                      </a:cubicBezTo>
                      <a:lnTo>
                        <a:pt x="1318319" y="825430"/>
                      </a:lnTo>
                      <a:lnTo>
                        <a:pt x="1353344" y="369543"/>
                      </a:lnTo>
                      <a:cubicBezTo>
                        <a:pt x="1143197" y="101931"/>
                        <a:pt x="967550" y="0"/>
                        <a:pt x="757228" y="0"/>
                      </a:cubicBezTo>
                      <a:close/>
                      <a:moveTo>
                        <a:pt x="914312" y="1037523"/>
                      </a:moveTo>
                      <a:cubicBezTo>
                        <a:pt x="690857" y="1387800"/>
                        <a:pt x="613628" y="1466263"/>
                        <a:pt x="489116" y="1466263"/>
                      </a:cubicBezTo>
                      <a:cubicBezTo>
                        <a:pt x="361102" y="1466263"/>
                        <a:pt x="284924" y="1353824"/>
                        <a:pt x="284924" y="1153465"/>
                      </a:cubicBezTo>
                      <a:cubicBezTo>
                        <a:pt x="284924" y="724725"/>
                        <a:pt x="498748" y="286177"/>
                        <a:pt x="753550" y="286177"/>
                      </a:cubicBezTo>
                      <a:cubicBezTo>
                        <a:pt x="891547" y="286177"/>
                        <a:pt x="1006952" y="365865"/>
                        <a:pt x="1183475" y="618766"/>
                      </a:cubicBezTo>
                      <a:cubicBezTo>
                        <a:pt x="1015883" y="876220"/>
                        <a:pt x="914312" y="1037523"/>
                        <a:pt x="914312" y="1037523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64E0"/>
                    </a:gs>
                    <a:gs pos="36000">
                      <a:srgbClr val="0064E0"/>
                    </a:gs>
                    <a:gs pos="78000">
                      <a:srgbClr val="128DFF"/>
                    </a:gs>
                    <a:gs pos="100000">
                      <a:srgbClr val="128DFF"/>
                    </a:gs>
                  </a:gsLst>
                  <a:lin ang="1801379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21" name="Google Shape;25;p2">
                  <a:extLst>
                    <a:ext uri="{FF2B5EF4-FFF2-40B4-BE49-F238E27FC236}">
                      <a16:creationId xmlns:a16="http://schemas.microsoft.com/office/drawing/2014/main" id="{1950DF61-E6ED-4817-B1C7-417E081E60D0}"/>
                    </a:ext>
                  </a:extLst>
                </p:cNvPr>
                <p:cNvSpPr/>
                <p:nvPr/>
              </p:nvSpPr>
              <p:spPr>
                <a:xfrm>
                  <a:off x="2504771" y="2553305"/>
                  <a:ext cx="849517" cy="10023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9517" h="1002319" extrusionOk="0">
                      <a:moveTo>
                        <a:pt x="849517" y="735758"/>
                      </a:moveTo>
                      <a:cubicBezTo>
                        <a:pt x="514509" y="190901"/>
                        <a:pt x="291578" y="0"/>
                        <a:pt x="3678" y="0"/>
                      </a:cubicBezTo>
                      <a:lnTo>
                        <a:pt x="0" y="286177"/>
                      </a:lnTo>
                      <a:cubicBezTo>
                        <a:pt x="188431" y="286177"/>
                        <a:pt x="334483" y="434695"/>
                        <a:pt x="652155" y="969744"/>
                      </a:cubicBezTo>
                      <a:lnTo>
                        <a:pt x="671593" y="1002320"/>
                      </a:lnTo>
                      <a:lnTo>
                        <a:pt x="849517" y="735758"/>
                      </a:lnTo>
                      <a:close/>
                    </a:path>
                  </a:pathLst>
                </a:custGeom>
                <a:solidFill>
                  <a:srgbClr val="0064E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</p:grpSp>
          <p:sp>
            <p:nvSpPr>
              <p:cNvPr id="17" name="Google Shape;26;p2">
                <a:extLst>
                  <a:ext uri="{FF2B5EF4-FFF2-40B4-BE49-F238E27FC236}">
                    <a16:creationId xmlns:a16="http://schemas.microsoft.com/office/drawing/2014/main" id="{D3D18760-C515-4296-816A-66A5CD47A886}"/>
                  </a:ext>
                </a:extLst>
              </p:cNvPr>
              <p:cNvSpPr/>
              <p:nvPr/>
            </p:nvSpPr>
            <p:spPr>
              <a:xfrm>
                <a:off x="4034812" y="3064536"/>
                <a:ext cx="329229" cy="361311"/>
              </a:xfrm>
              <a:custGeom>
                <a:avLst/>
                <a:gdLst/>
                <a:ahLst/>
                <a:cxnLst/>
                <a:rect l="l" t="t" r="r" b="b"/>
                <a:pathLst>
                  <a:path w="329229" h="361311" extrusionOk="0">
                    <a:moveTo>
                      <a:pt x="311893" y="263934"/>
                    </a:moveTo>
                    <a:lnTo>
                      <a:pt x="311893" y="263934"/>
                    </a:lnTo>
                    <a:cubicBezTo>
                      <a:pt x="291053" y="170060"/>
                      <a:pt x="261983" y="81440"/>
                      <a:pt x="226258" y="0"/>
                    </a:cubicBezTo>
                    <a:lnTo>
                      <a:pt x="0" y="90547"/>
                    </a:lnTo>
                    <a:cubicBezTo>
                      <a:pt x="21890" y="144139"/>
                      <a:pt x="40628" y="202285"/>
                      <a:pt x="55864" y="263934"/>
                    </a:cubicBezTo>
                    <a:lnTo>
                      <a:pt x="55689" y="263934"/>
                    </a:lnTo>
                    <a:cubicBezTo>
                      <a:pt x="63394" y="295459"/>
                      <a:pt x="70224" y="328035"/>
                      <a:pt x="76003" y="361311"/>
                    </a:cubicBezTo>
                    <a:lnTo>
                      <a:pt x="329230" y="353080"/>
                    </a:lnTo>
                    <a:cubicBezTo>
                      <a:pt x="324326" y="322781"/>
                      <a:pt x="318547" y="293183"/>
                      <a:pt x="311893" y="263934"/>
                    </a:cubicBezTo>
                    <a:close/>
                  </a:path>
                </a:pathLst>
              </a:custGeom>
              <a:solidFill>
                <a:srgbClr val="2C7FF4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</p:grp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766EB2E-760C-4376-8752-7B81620A24FE}"/>
              </a:ext>
            </a:extLst>
          </p:cNvPr>
          <p:cNvSpPr txBox="1"/>
          <p:nvPr/>
        </p:nvSpPr>
        <p:spPr>
          <a:xfrm>
            <a:off x="914400" y="6270332"/>
            <a:ext cx="60935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 – Analytic-Edge Models</a:t>
            </a:r>
          </a:p>
        </p:txBody>
      </p:sp>
    </p:spTree>
    <p:extLst>
      <p:ext uri="{BB962C8B-B14F-4D97-AF65-F5344CB8AC3E}">
        <p14:creationId xmlns:p14="http://schemas.microsoft.com/office/powerpoint/2010/main" val="19075751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D248C7-7D50-4079-BF1C-58D9AD79EC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1" i="0" u="none" strike="noStrike" kern="1200" cap="none" spc="0" normalizeH="0" baseline="0" noProof="0" smtClean="0">
                <a:ln>
                  <a:noFill/>
                </a:ln>
                <a:solidFill>
                  <a:srgbClr val="186A43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IN" sz="800" b="1" i="0" u="none" strike="noStrike" kern="1200" cap="none" spc="0" normalizeH="0" baseline="0" noProof="0">
              <a:ln>
                <a:noFill/>
              </a:ln>
              <a:solidFill>
                <a:srgbClr val="186A43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B9C0A24-76DD-4626-9E93-77DCBCC0E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First time activations from Model  – First Time Activations KPI (Weekly)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C532A4-467E-4251-92AA-463EDB66D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186A43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A6779CD-F375-4855-AA3E-19C3C4C3FF5B}"/>
              </a:ext>
            </a:extLst>
          </p:cNvPr>
          <p:cNvSpPr txBox="1">
            <a:spLocks/>
          </p:cNvSpPr>
          <p:nvPr/>
        </p:nvSpPr>
        <p:spPr>
          <a:xfrm>
            <a:off x="937377" y="830696"/>
            <a:ext cx="10623418" cy="3960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+</a:t>
            </a: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07B62AA2-4A5C-4D0A-8C39-7864B42293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3434965"/>
              </p:ext>
            </p:extLst>
          </p:nvPr>
        </p:nvGraphicFramePr>
        <p:xfrm>
          <a:off x="695722" y="1084209"/>
          <a:ext cx="10654698" cy="5036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1" name="Google Shape;14;p2">
            <a:extLst>
              <a:ext uri="{FF2B5EF4-FFF2-40B4-BE49-F238E27FC236}">
                <a16:creationId xmlns:a16="http://schemas.microsoft.com/office/drawing/2014/main" id="{C325A4FD-BF3F-4AAE-8261-C25B81447CCF}"/>
              </a:ext>
            </a:extLst>
          </p:cNvPr>
          <p:cNvGrpSpPr/>
          <p:nvPr/>
        </p:nvGrpSpPr>
        <p:grpSpPr>
          <a:xfrm>
            <a:off x="11198614" y="6343198"/>
            <a:ext cx="822960" cy="182880"/>
            <a:chOff x="15867399" y="9251826"/>
            <a:chExt cx="1725920" cy="347510"/>
          </a:xfrm>
        </p:grpSpPr>
        <p:grpSp>
          <p:nvGrpSpPr>
            <p:cNvPr id="12" name="Google Shape;15;p2">
              <a:extLst>
                <a:ext uri="{FF2B5EF4-FFF2-40B4-BE49-F238E27FC236}">
                  <a16:creationId xmlns:a16="http://schemas.microsoft.com/office/drawing/2014/main" id="{AD16EC25-D1EE-4FD6-B2CC-3E66B50B692E}"/>
                </a:ext>
              </a:extLst>
            </p:cNvPr>
            <p:cNvGrpSpPr/>
            <p:nvPr/>
          </p:nvGrpSpPr>
          <p:grpSpPr>
            <a:xfrm>
              <a:off x="16500868" y="9262980"/>
              <a:ext cx="1092451" cy="336217"/>
              <a:chOff x="4940894" y="2609525"/>
              <a:chExt cx="5500759" cy="1694643"/>
            </a:xfrm>
          </p:grpSpPr>
          <p:sp>
            <p:nvSpPr>
              <p:cNvPr id="22" name="Google Shape;16;p2">
                <a:extLst>
                  <a:ext uri="{FF2B5EF4-FFF2-40B4-BE49-F238E27FC236}">
                    <a16:creationId xmlns:a16="http://schemas.microsoft.com/office/drawing/2014/main" id="{3ED6FD9B-F15A-459C-8808-EFE8E019B0C1}"/>
                  </a:ext>
                </a:extLst>
              </p:cNvPr>
              <p:cNvSpPr/>
              <p:nvPr/>
            </p:nvSpPr>
            <p:spPr>
              <a:xfrm>
                <a:off x="4940894" y="2609525"/>
                <a:ext cx="1771710" cy="1664870"/>
              </a:xfrm>
              <a:custGeom>
                <a:avLst/>
                <a:gdLst/>
                <a:ahLst/>
                <a:cxnLst/>
                <a:rect l="l" t="t" r="r" b="b"/>
                <a:pathLst>
                  <a:path w="1771710" h="1664870" extrusionOk="0">
                    <a:moveTo>
                      <a:pt x="0" y="0"/>
                    </a:moveTo>
                    <a:lnTo>
                      <a:pt x="329405" y="0"/>
                    </a:lnTo>
                    <a:lnTo>
                      <a:pt x="889445" y="1013178"/>
                    </a:lnTo>
                    <a:lnTo>
                      <a:pt x="1449486" y="0"/>
                    </a:lnTo>
                    <a:lnTo>
                      <a:pt x="1771711" y="0"/>
                    </a:lnTo>
                    <a:lnTo>
                      <a:pt x="1771711" y="1664870"/>
                    </a:lnTo>
                    <a:lnTo>
                      <a:pt x="1503073" y="1664870"/>
                    </a:lnTo>
                    <a:lnTo>
                      <a:pt x="1503073" y="388983"/>
                    </a:lnTo>
                    <a:lnTo>
                      <a:pt x="1012031" y="1272559"/>
                    </a:lnTo>
                    <a:lnTo>
                      <a:pt x="760030" y="1272559"/>
                    </a:lnTo>
                    <a:lnTo>
                      <a:pt x="268988" y="388983"/>
                    </a:lnTo>
                    <a:lnTo>
                      <a:pt x="268988" y="1664870"/>
                    </a:lnTo>
                    <a:lnTo>
                      <a:pt x="351" y="1664870"/>
                    </a:lnTo>
                    <a:lnTo>
                      <a:pt x="351" y="0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3" name="Google Shape;17;p2">
                <a:extLst>
                  <a:ext uri="{FF2B5EF4-FFF2-40B4-BE49-F238E27FC236}">
                    <a16:creationId xmlns:a16="http://schemas.microsoft.com/office/drawing/2014/main" id="{B95FADB2-2FEF-4EAD-A2C1-78C30EAE495B}"/>
                  </a:ext>
                </a:extLst>
              </p:cNvPr>
              <p:cNvSpPr/>
              <p:nvPr/>
            </p:nvSpPr>
            <p:spPr>
              <a:xfrm>
                <a:off x="6951471" y="3004463"/>
                <a:ext cx="1178571" cy="1299705"/>
              </a:xfrm>
              <a:custGeom>
                <a:avLst/>
                <a:gdLst/>
                <a:ahLst/>
                <a:cxnLst/>
                <a:rect l="l" t="t" r="r" b="b"/>
                <a:pathLst>
                  <a:path w="1178571" h="1299705" extrusionOk="0">
                    <a:moveTo>
                      <a:pt x="627813" y="1299706"/>
                    </a:moveTo>
                    <a:cubicBezTo>
                      <a:pt x="503301" y="1299706"/>
                      <a:pt x="394025" y="1272209"/>
                      <a:pt x="299634" y="1217040"/>
                    </a:cubicBezTo>
                    <a:cubicBezTo>
                      <a:pt x="205243" y="1161871"/>
                      <a:pt x="131692" y="1085686"/>
                      <a:pt x="79155" y="988134"/>
                    </a:cubicBezTo>
                    <a:cubicBezTo>
                      <a:pt x="26444" y="890581"/>
                      <a:pt x="0" y="778843"/>
                      <a:pt x="0" y="652743"/>
                    </a:cubicBezTo>
                    <a:cubicBezTo>
                      <a:pt x="0" y="525066"/>
                      <a:pt x="25743" y="412102"/>
                      <a:pt x="77229" y="313849"/>
                    </a:cubicBezTo>
                    <a:cubicBezTo>
                      <a:pt x="128715" y="215596"/>
                      <a:pt x="200340" y="138710"/>
                      <a:pt x="291929" y="83191"/>
                    </a:cubicBezTo>
                    <a:cubicBezTo>
                      <a:pt x="383517" y="27672"/>
                      <a:pt x="488766" y="0"/>
                      <a:pt x="607674" y="0"/>
                    </a:cubicBezTo>
                    <a:cubicBezTo>
                      <a:pt x="725706" y="0"/>
                      <a:pt x="827452" y="28022"/>
                      <a:pt x="912737" y="83892"/>
                    </a:cubicBezTo>
                    <a:cubicBezTo>
                      <a:pt x="998021" y="139761"/>
                      <a:pt x="1063516" y="218048"/>
                      <a:pt x="1109574" y="318753"/>
                    </a:cubicBezTo>
                    <a:cubicBezTo>
                      <a:pt x="1155455" y="419458"/>
                      <a:pt x="1178572" y="537501"/>
                      <a:pt x="1178572" y="673059"/>
                    </a:cubicBezTo>
                    <a:lnTo>
                      <a:pt x="1178572" y="746792"/>
                    </a:lnTo>
                    <a:lnTo>
                      <a:pt x="266536" y="746792"/>
                    </a:lnTo>
                    <a:cubicBezTo>
                      <a:pt x="283173" y="848373"/>
                      <a:pt x="324151" y="928236"/>
                      <a:pt x="389647" y="986382"/>
                    </a:cubicBezTo>
                    <a:cubicBezTo>
                      <a:pt x="454967" y="1044703"/>
                      <a:pt x="537625" y="1073776"/>
                      <a:pt x="637620" y="1073776"/>
                    </a:cubicBezTo>
                    <a:cubicBezTo>
                      <a:pt x="717650" y="1073776"/>
                      <a:pt x="786649" y="1061867"/>
                      <a:pt x="844439" y="1038048"/>
                    </a:cubicBezTo>
                    <a:cubicBezTo>
                      <a:pt x="902229" y="1014229"/>
                      <a:pt x="956517" y="978151"/>
                      <a:pt x="1007303" y="929812"/>
                    </a:cubicBezTo>
                    <a:lnTo>
                      <a:pt x="1150027" y="1104601"/>
                    </a:lnTo>
                    <a:cubicBezTo>
                      <a:pt x="1008003" y="1234729"/>
                      <a:pt x="833932" y="1299706"/>
                      <a:pt x="627813" y="1299706"/>
                    </a:cubicBezTo>
                    <a:close/>
                    <a:moveTo>
                      <a:pt x="824125" y="312098"/>
                    </a:moveTo>
                    <a:cubicBezTo>
                      <a:pt x="767910" y="254652"/>
                      <a:pt x="694184" y="225929"/>
                      <a:pt x="602945" y="225929"/>
                    </a:cubicBezTo>
                    <a:cubicBezTo>
                      <a:pt x="514159" y="225929"/>
                      <a:pt x="439907" y="255353"/>
                      <a:pt x="380015" y="313849"/>
                    </a:cubicBezTo>
                    <a:cubicBezTo>
                      <a:pt x="320123" y="372521"/>
                      <a:pt x="282297" y="451333"/>
                      <a:pt x="266536" y="550462"/>
                    </a:cubicBezTo>
                    <a:lnTo>
                      <a:pt x="920442" y="550462"/>
                    </a:lnTo>
                    <a:cubicBezTo>
                      <a:pt x="912386" y="449056"/>
                      <a:pt x="880339" y="369543"/>
                      <a:pt x="824125" y="312098"/>
                    </a:cubicBez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4" name="Google Shape;18;p2">
                <a:extLst>
                  <a:ext uri="{FF2B5EF4-FFF2-40B4-BE49-F238E27FC236}">
                    <a16:creationId xmlns:a16="http://schemas.microsoft.com/office/drawing/2014/main" id="{35822119-AF49-4808-B0CD-7DBB9E88F67A}"/>
                  </a:ext>
                </a:extLst>
              </p:cNvPr>
              <p:cNvSpPr/>
              <p:nvPr/>
            </p:nvSpPr>
            <p:spPr>
              <a:xfrm>
                <a:off x="8208497" y="2670123"/>
                <a:ext cx="882090" cy="1631418"/>
              </a:xfrm>
              <a:custGeom>
                <a:avLst/>
                <a:gdLst/>
                <a:ahLst/>
                <a:cxnLst/>
                <a:rect l="l" t="t" r="r" b="b"/>
                <a:pathLst>
                  <a:path w="882090" h="1631418" extrusionOk="0">
                    <a:moveTo>
                      <a:pt x="247273" y="583913"/>
                    </a:moveTo>
                    <a:lnTo>
                      <a:pt x="0" y="583913"/>
                    </a:lnTo>
                    <a:lnTo>
                      <a:pt x="0" y="363939"/>
                    </a:lnTo>
                    <a:lnTo>
                      <a:pt x="247273" y="363939"/>
                    </a:lnTo>
                    <a:lnTo>
                      <a:pt x="247273" y="0"/>
                    </a:lnTo>
                    <a:lnTo>
                      <a:pt x="506453" y="0"/>
                    </a:lnTo>
                    <a:lnTo>
                      <a:pt x="506453" y="363939"/>
                    </a:lnTo>
                    <a:lnTo>
                      <a:pt x="882090" y="363939"/>
                    </a:lnTo>
                    <a:lnTo>
                      <a:pt x="882090" y="583913"/>
                    </a:lnTo>
                    <a:lnTo>
                      <a:pt x="506278" y="583913"/>
                    </a:lnTo>
                    <a:lnTo>
                      <a:pt x="506278" y="1141555"/>
                    </a:lnTo>
                    <a:cubicBezTo>
                      <a:pt x="506278" y="1234379"/>
                      <a:pt x="522214" y="1300581"/>
                      <a:pt x="553912" y="1340163"/>
                    </a:cubicBezTo>
                    <a:cubicBezTo>
                      <a:pt x="585609" y="1379744"/>
                      <a:pt x="639897" y="1399710"/>
                      <a:pt x="716775" y="1399535"/>
                    </a:cubicBezTo>
                    <a:cubicBezTo>
                      <a:pt x="750924" y="1399535"/>
                      <a:pt x="779819" y="1398134"/>
                      <a:pt x="803636" y="1395332"/>
                    </a:cubicBezTo>
                    <a:cubicBezTo>
                      <a:pt x="827452" y="1392529"/>
                      <a:pt x="853546" y="1388851"/>
                      <a:pt x="882090" y="1383948"/>
                    </a:cubicBezTo>
                    <a:lnTo>
                      <a:pt x="882090" y="1601645"/>
                    </a:lnTo>
                    <a:cubicBezTo>
                      <a:pt x="849517" y="1611103"/>
                      <a:pt x="816420" y="1618283"/>
                      <a:pt x="782796" y="1623012"/>
                    </a:cubicBezTo>
                    <a:cubicBezTo>
                      <a:pt x="744444" y="1628616"/>
                      <a:pt x="705742" y="1631419"/>
                      <a:pt x="666865" y="1631419"/>
                    </a:cubicBezTo>
                    <a:cubicBezTo>
                      <a:pt x="387020" y="1631419"/>
                      <a:pt x="247097" y="1478347"/>
                      <a:pt x="247097" y="1172380"/>
                    </a:cubicBezTo>
                    <a:lnTo>
                      <a:pt x="247273" y="583913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5" name="Google Shape;19;p2">
                <a:extLst>
                  <a:ext uri="{FF2B5EF4-FFF2-40B4-BE49-F238E27FC236}">
                    <a16:creationId xmlns:a16="http://schemas.microsoft.com/office/drawing/2014/main" id="{7068C831-E486-40A2-BFA5-A903415A9672}"/>
                  </a:ext>
                </a:extLst>
              </p:cNvPr>
              <p:cNvSpPr/>
              <p:nvPr/>
            </p:nvSpPr>
            <p:spPr>
              <a:xfrm>
                <a:off x="9214573" y="3004463"/>
                <a:ext cx="1227080" cy="1299705"/>
              </a:xfrm>
              <a:custGeom>
                <a:avLst/>
                <a:gdLst/>
                <a:ahLst/>
                <a:cxnLst/>
                <a:rect l="l" t="t" r="r" b="b"/>
                <a:pathLst>
                  <a:path w="1227080" h="1299705" extrusionOk="0">
                    <a:moveTo>
                      <a:pt x="1226906" y="1269932"/>
                    </a:moveTo>
                    <a:lnTo>
                      <a:pt x="972454" y="1269932"/>
                    </a:lnTo>
                    <a:lnTo>
                      <a:pt x="972454" y="1096369"/>
                    </a:lnTo>
                    <a:cubicBezTo>
                      <a:pt x="927272" y="1161346"/>
                      <a:pt x="869832" y="1211611"/>
                      <a:pt x="800134" y="1246814"/>
                    </a:cubicBezTo>
                    <a:cubicBezTo>
                      <a:pt x="730434" y="1282017"/>
                      <a:pt x="651104" y="1299706"/>
                      <a:pt x="562317" y="1299706"/>
                    </a:cubicBezTo>
                    <a:cubicBezTo>
                      <a:pt x="452866" y="1299706"/>
                      <a:pt x="356024" y="1271683"/>
                      <a:pt x="271615" y="1215814"/>
                    </a:cubicBezTo>
                    <a:cubicBezTo>
                      <a:pt x="187206" y="1159945"/>
                      <a:pt x="120834" y="1083059"/>
                      <a:pt x="72501" y="985156"/>
                    </a:cubicBezTo>
                    <a:cubicBezTo>
                      <a:pt x="24167" y="887253"/>
                      <a:pt x="0" y="775340"/>
                      <a:pt x="0" y="649240"/>
                    </a:cubicBezTo>
                    <a:cubicBezTo>
                      <a:pt x="0" y="522439"/>
                      <a:pt x="24517" y="410175"/>
                      <a:pt x="73727" y="312623"/>
                    </a:cubicBezTo>
                    <a:cubicBezTo>
                      <a:pt x="122936" y="215071"/>
                      <a:pt x="190883" y="138710"/>
                      <a:pt x="277569" y="83191"/>
                    </a:cubicBezTo>
                    <a:cubicBezTo>
                      <a:pt x="364429" y="27672"/>
                      <a:pt x="464074" y="0"/>
                      <a:pt x="576678" y="0"/>
                    </a:cubicBezTo>
                    <a:cubicBezTo>
                      <a:pt x="661437" y="0"/>
                      <a:pt x="737615" y="16463"/>
                      <a:pt x="805037" y="49389"/>
                    </a:cubicBezTo>
                    <a:cubicBezTo>
                      <a:pt x="871583" y="81615"/>
                      <a:pt x="929023" y="129603"/>
                      <a:pt x="972629" y="189150"/>
                    </a:cubicBezTo>
                    <a:lnTo>
                      <a:pt x="972629" y="29774"/>
                    </a:lnTo>
                    <a:lnTo>
                      <a:pt x="1227081" y="29774"/>
                    </a:lnTo>
                    <a:lnTo>
                      <a:pt x="1227081" y="1269932"/>
                    </a:lnTo>
                    <a:close/>
                    <a:moveTo>
                      <a:pt x="967550" y="463768"/>
                    </a:moveTo>
                    <a:cubicBezTo>
                      <a:pt x="939705" y="393187"/>
                      <a:pt x="895925" y="337493"/>
                      <a:pt x="836208" y="296685"/>
                    </a:cubicBezTo>
                    <a:cubicBezTo>
                      <a:pt x="776317" y="255878"/>
                      <a:pt x="707144" y="235387"/>
                      <a:pt x="628688" y="235387"/>
                    </a:cubicBezTo>
                    <a:cubicBezTo>
                      <a:pt x="517661" y="235387"/>
                      <a:pt x="429400" y="272691"/>
                      <a:pt x="363554" y="347125"/>
                    </a:cubicBezTo>
                    <a:cubicBezTo>
                      <a:pt x="297708" y="421559"/>
                      <a:pt x="264785" y="522264"/>
                      <a:pt x="264785" y="649240"/>
                    </a:cubicBezTo>
                    <a:cubicBezTo>
                      <a:pt x="264785" y="776916"/>
                      <a:pt x="296482" y="877971"/>
                      <a:pt x="359876" y="952405"/>
                    </a:cubicBezTo>
                    <a:cubicBezTo>
                      <a:pt x="423270" y="1027014"/>
                      <a:pt x="509256" y="1064144"/>
                      <a:pt x="617831" y="1064144"/>
                    </a:cubicBezTo>
                    <a:cubicBezTo>
                      <a:pt x="697862" y="1064144"/>
                      <a:pt x="769137" y="1043477"/>
                      <a:pt x="831830" y="1002320"/>
                    </a:cubicBezTo>
                    <a:cubicBezTo>
                      <a:pt x="894524" y="961162"/>
                      <a:pt x="939705" y="905643"/>
                      <a:pt x="967375" y="835763"/>
                    </a:cubicBezTo>
                    <a:lnTo>
                      <a:pt x="967550" y="463768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</p:grpSp>
        <p:grpSp>
          <p:nvGrpSpPr>
            <p:cNvPr id="14" name="Google Shape;20;p2">
              <a:extLst>
                <a:ext uri="{FF2B5EF4-FFF2-40B4-BE49-F238E27FC236}">
                  <a16:creationId xmlns:a16="http://schemas.microsoft.com/office/drawing/2014/main" id="{94DD7928-3FE6-4DBF-8B63-5DB8EEFBDD37}"/>
                </a:ext>
              </a:extLst>
            </p:cNvPr>
            <p:cNvGrpSpPr/>
            <p:nvPr/>
          </p:nvGrpSpPr>
          <p:grpSpPr>
            <a:xfrm>
              <a:off x="15867399" y="9251826"/>
              <a:ext cx="523393" cy="347510"/>
              <a:chOff x="1751220" y="2553305"/>
              <a:chExt cx="2635412" cy="1751564"/>
            </a:xfrm>
          </p:grpSpPr>
          <p:grpSp>
            <p:nvGrpSpPr>
              <p:cNvPr id="15" name="Google Shape;21;p2">
                <a:extLst>
                  <a:ext uri="{FF2B5EF4-FFF2-40B4-BE49-F238E27FC236}">
                    <a16:creationId xmlns:a16="http://schemas.microsoft.com/office/drawing/2014/main" id="{4B97564F-79C4-43C4-B781-E179FF8B948E}"/>
                  </a:ext>
                </a:extLst>
              </p:cNvPr>
              <p:cNvGrpSpPr/>
              <p:nvPr/>
            </p:nvGrpSpPr>
            <p:grpSpPr>
              <a:xfrm>
                <a:off x="1751220" y="2553305"/>
                <a:ext cx="2635412" cy="1751564"/>
                <a:chOff x="1751220" y="2553305"/>
                <a:chExt cx="2635412" cy="1751564"/>
              </a:xfrm>
            </p:grpSpPr>
            <p:sp>
              <p:nvSpPr>
                <p:cNvPr id="18" name="Google Shape;22;p2">
                  <a:extLst>
                    <a:ext uri="{FF2B5EF4-FFF2-40B4-BE49-F238E27FC236}">
                      <a16:creationId xmlns:a16="http://schemas.microsoft.com/office/drawing/2014/main" id="{07DD8193-B33C-42C3-8CA2-CF48C59A3CC6}"/>
                    </a:ext>
                  </a:extLst>
                </p:cNvPr>
                <p:cNvSpPr/>
                <p:nvPr/>
              </p:nvSpPr>
              <p:spPr>
                <a:xfrm>
                  <a:off x="3069540" y="3101490"/>
                  <a:ext cx="1317092" cy="12033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7092" h="1203379" extrusionOk="0">
                      <a:moveTo>
                        <a:pt x="1277166" y="226980"/>
                      </a:moveTo>
                      <a:lnTo>
                        <a:pt x="1020962" y="226980"/>
                      </a:lnTo>
                      <a:cubicBezTo>
                        <a:pt x="1049682" y="343622"/>
                        <a:pt x="1065618" y="472875"/>
                        <a:pt x="1065618" y="608958"/>
                      </a:cubicBezTo>
                      <a:cubicBezTo>
                        <a:pt x="1065618" y="804588"/>
                        <a:pt x="1001523" y="918253"/>
                        <a:pt x="868780" y="918253"/>
                      </a:cubicBezTo>
                      <a:cubicBezTo>
                        <a:pt x="741467" y="918253"/>
                        <a:pt x="680700" y="834187"/>
                        <a:pt x="439031" y="445378"/>
                      </a:cubicBezTo>
                      <a:lnTo>
                        <a:pt x="284573" y="187749"/>
                      </a:lnTo>
                      <a:cubicBezTo>
                        <a:pt x="242719" y="119795"/>
                        <a:pt x="202616" y="57095"/>
                        <a:pt x="164089" y="0"/>
                      </a:cubicBezTo>
                      <a:lnTo>
                        <a:pt x="21365" y="0"/>
                      </a:lnTo>
                      <a:lnTo>
                        <a:pt x="0" y="277420"/>
                      </a:lnTo>
                      <a:cubicBezTo>
                        <a:pt x="27669" y="322080"/>
                        <a:pt x="56915" y="370244"/>
                        <a:pt x="87561" y="421910"/>
                      </a:cubicBezTo>
                      <a:lnTo>
                        <a:pt x="216801" y="639257"/>
                      </a:lnTo>
                      <a:cubicBezTo>
                        <a:pt x="468452" y="1060466"/>
                        <a:pt x="608724" y="1203379"/>
                        <a:pt x="863002" y="1203379"/>
                      </a:cubicBezTo>
                      <a:cubicBezTo>
                        <a:pt x="1154755" y="1203379"/>
                        <a:pt x="1317093" y="967117"/>
                        <a:pt x="1317093" y="589868"/>
                      </a:cubicBezTo>
                      <a:cubicBezTo>
                        <a:pt x="1316918" y="463417"/>
                        <a:pt x="1302908" y="341346"/>
                        <a:pt x="1277166" y="226980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64E0"/>
                    </a:gs>
                    <a:gs pos="13000">
                      <a:srgbClr val="0064E0"/>
                    </a:gs>
                    <a:gs pos="82000">
                      <a:srgbClr val="2C7FF4"/>
                    </a:gs>
                    <a:gs pos="100000">
                      <a:srgbClr val="2C7FF4"/>
                    </a:gs>
                  </a:gsLst>
                  <a:lin ang="0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19" name="Google Shape;23;p2">
                  <a:extLst>
                    <a:ext uri="{FF2B5EF4-FFF2-40B4-BE49-F238E27FC236}">
                      <a16:creationId xmlns:a16="http://schemas.microsoft.com/office/drawing/2014/main" id="{B6535C75-406E-4C9A-810E-B03663B19C43}"/>
                    </a:ext>
                  </a:extLst>
                </p:cNvPr>
                <p:cNvSpPr/>
                <p:nvPr/>
              </p:nvSpPr>
              <p:spPr>
                <a:xfrm>
                  <a:off x="3091079" y="2553305"/>
                  <a:ext cx="1255800" cy="775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5800" h="775164" extrusionOk="0">
                      <a:moveTo>
                        <a:pt x="533422" y="225929"/>
                      </a:moveTo>
                      <a:cubicBezTo>
                        <a:pt x="741992" y="225929"/>
                        <a:pt x="919916" y="451683"/>
                        <a:pt x="999597" y="775165"/>
                      </a:cubicBezTo>
                      <a:lnTo>
                        <a:pt x="1255801" y="775165"/>
                      </a:lnTo>
                      <a:cubicBezTo>
                        <a:pt x="1155455" y="329086"/>
                        <a:pt x="876311" y="0"/>
                        <a:pt x="551635" y="0"/>
                      </a:cubicBezTo>
                      <a:cubicBezTo>
                        <a:pt x="335534" y="0"/>
                        <a:pt x="166716" y="162704"/>
                        <a:pt x="13660" y="369543"/>
                      </a:cubicBezTo>
                      <a:lnTo>
                        <a:pt x="0" y="548010"/>
                      </a:lnTo>
                      <a:lnTo>
                        <a:pt x="142725" y="548010"/>
                      </a:lnTo>
                      <a:cubicBezTo>
                        <a:pt x="281772" y="332939"/>
                        <a:pt x="396652" y="225929"/>
                        <a:pt x="533422" y="225929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2C7FF4"/>
                    </a:gs>
                    <a:gs pos="13000">
                      <a:srgbClr val="2C7FF4"/>
                    </a:gs>
                    <a:gs pos="100000">
                      <a:srgbClr val="128DFF"/>
                    </a:gs>
                  </a:gsLst>
                  <a:lin ang="10800025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20" name="Google Shape;24;p2">
                  <a:extLst>
                    <a:ext uri="{FF2B5EF4-FFF2-40B4-BE49-F238E27FC236}">
                      <a16:creationId xmlns:a16="http://schemas.microsoft.com/office/drawing/2014/main" id="{3A8B30AD-2D9E-4D1A-8183-AE701DA4C87C}"/>
                    </a:ext>
                  </a:extLst>
                </p:cNvPr>
                <p:cNvSpPr/>
                <p:nvPr/>
              </p:nvSpPr>
              <p:spPr>
                <a:xfrm>
                  <a:off x="1751220" y="2553305"/>
                  <a:ext cx="1353343" cy="1751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53343" h="1751388" extrusionOk="0">
                      <a:moveTo>
                        <a:pt x="757228" y="0"/>
                      </a:moveTo>
                      <a:cubicBezTo>
                        <a:pt x="328529" y="0"/>
                        <a:pt x="0" y="557992"/>
                        <a:pt x="0" y="1148736"/>
                      </a:cubicBezTo>
                      <a:cubicBezTo>
                        <a:pt x="0" y="1518279"/>
                        <a:pt x="178800" y="1751389"/>
                        <a:pt x="478258" y="1751389"/>
                      </a:cubicBezTo>
                      <a:cubicBezTo>
                        <a:pt x="693834" y="1751389"/>
                        <a:pt x="848817" y="1649808"/>
                        <a:pt x="1124459" y="1168001"/>
                      </a:cubicBezTo>
                      <a:cubicBezTo>
                        <a:pt x="1124459" y="1168001"/>
                        <a:pt x="1239339" y="965190"/>
                        <a:pt x="1318319" y="825430"/>
                      </a:cubicBezTo>
                      <a:lnTo>
                        <a:pt x="1318319" y="825430"/>
                      </a:lnTo>
                      <a:lnTo>
                        <a:pt x="1353344" y="369543"/>
                      </a:lnTo>
                      <a:cubicBezTo>
                        <a:pt x="1143197" y="101931"/>
                        <a:pt x="967550" y="0"/>
                        <a:pt x="757228" y="0"/>
                      </a:cubicBezTo>
                      <a:close/>
                      <a:moveTo>
                        <a:pt x="914312" y="1037523"/>
                      </a:moveTo>
                      <a:cubicBezTo>
                        <a:pt x="690857" y="1387800"/>
                        <a:pt x="613628" y="1466263"/>
                        <a:pt x="489116" y="1466263"/>
                      </a:cubicBezTo>
                      <a:cubicBezTo>
                        <a:pt x="361102" y="1466263"/>
                        <a:pt x="284924" y="1353824"/>
                        <a:pt x="284924" y="1153465"/>
                      </a:cubicBezTo>
                      <a:cubicBezTo>
                        <a:pt x="284924" y="724725"/>
                        <a:pt x="498748" y="286177"/>
                        <a:pt x="753550" y="286177"/>
                      </a:cubicBezTo>
                      <a:cubicBezTo>
                        <a:pt x="891547" y="286177"/>
                        <a:pt x="1006952" y="365865"/>
                        <a:pt x="1183475" y="618766"/>
                      </a:cubicBezTo>
                      <a:cubicBezTo>
                        <a:pt x="1015883" y="876220"/>
                        <a:pt x="914312" y="1037523"/>
                        <a:pt x="914312" y="1037523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64E0"/>
                    </a:gs>
                    <a:gs pos="36000">
                      <a:srgbClr val="0064E0"/>
                    </a:gs>
                    <a:gs pos="78000">
                      <a:srgbClr val="128DFF"/>
                    </a:gs>
                    <a:gs pos="100000">
                      <a:srgbClr val="128DFF"/>
                    </a:gs>
                  </a:gsLst>
                  <a:lin ang="1801379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21" name="Google Shape;25;p2">
                  <a:extLst>
                    <a:ext uri="{FF2B5EF4-FFF2-40B4-BE49-F238E27FC236}">
                      <a16:creationId xmlns:a16="http://schemas.microsoft.com/office/drawing/2014/main" id="{1950DF61-E6ED-4817-B1C7-417E081E60D0}"/>
                    </a:ext>
                  </a:extLst>
                </p:cNvPr>
                <p:cNvSpPr/>
                <p:nvPr/>
              </p:nvSpPr>
              <p:spPr>
                <a:xfrm>
                  <a:off x="2504771" y="2553305"/>
                  <a:ext cx="849517" cy="10023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9517" h="1002319" extrusionOk="0">
                      <a:moveTo>
                        <a:pt x="849517" y="735758"/>
                      </a:moveTo>
                      <a:cubicBezTo>
                        <a:pt x="514509" y="190901"/>
                        <a:pt x="291578" y="0"/>
                        <a:pt x="3678" y="0"/>
                      </a:cubicBezTo>
                      <a:lnTo>
                        <a:pt x="0" y="286177"/>
                      </a:lnTo>
                      <a:cubicBezTo>
                        <a:pt x="188431" y="286177"/>
                        <a:pt x="334483" y="434695"/>
                        <a:pt x="652155" y="969744"/>
                      </a:cubicBezTo>
                      <a:lnTo>
                        <a:pt x="671593" y="1002320"/>
                      </a:lnTo>
                      <a:lnTo>
                        <a:pt x="849517" y="735758"/>
                      </a:lnTo>
                      <a:close/>
                    </a:path>
                  </a:pathLst>
                </a:custGeom>
                <a:solidFill>
                  <a:srgbClr val="0064E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</p:grpSp>
          <p:sp>
            <p:nvSpPr>
              <p:cNvPr id="17" name="Google Shape;26;p2">
                <a:extLst>
                  <a:ext uri="{FF2B5EF4-FFF2-40B4-BE49-F238E27FC236}">
                    <a16:creationId xmlns:a16="http://schemas.microsoft.com/office/drawing/2014/main" id="{D3D18760-C515-4296-816A-66A5CD47A886}"/>
                  </a:ext>
                </a:extLst>
              </p:cNvPr>
              <p:cNvSpPr/>
              <p:nvPr/>
            </p:nvSpPr>
            <p:spPr>
              <a:xfrm>
                <a:off x="4034812" y="3064536"/>
                <a:ext cx="329229" cy="361311"/>
              </a:xfrm>
              <a:custGeom>
                <a:avLst/>
                <a:gdLst/>
                <a:ahLst/>
                <a:cxnLst/>
                <a:rect l="l" t="t" r="r" b="b"/>
                <a:pathLst>
                  <a:path w="329229" h="361311" extrusionOk="0">
                    <a:moveTo>
                      <a:pt x="311893" y="263934"/>
                    </a:moveTo>
                    <a:lnTo>
                      <a:pt x="311893" y="263934"/>
                    </a:lnTo>
                    <a:cubicBezTo>
                      <a:pt x="291053" y="170060"/>
                      <a:pt x="261983" y="81440"/>
                      <a:pt x="226258" y="0"/>
                    </a:cubicBezTo>
                    <a:lnTo>
                      <a:pt x="0" y="90547"/>
                    </a:lnTo>
                    <a:cubicBezTo>
                      <a:pt x="21890" y="144139"/>
                      <a:pt x="40628" y="202285"/>
                      <a:pt x="55864" y="263934"/>
                    </a:cubicBezTo>
                    <a:lnTo>
                      <a:pt x="55689" y="263934"/>
                    </a:lnTo>
                    <a:cubicBezTo>
                      <a:pt x="63394" y="295459"/>
                      <a:pt x="70224" y="328035"/>
                      <a:pt x="76003" y="361311"/>
                    </a:cubicBezTo>
                    <a:lnTo>
                      <a:pt x="329230" y="353080"/>
                    </a:lnTo>
                    <a:cubicBezTo>
                      <a:pt x="324326" y="322781"/>
                      <a:pt x="318547" y="293183"/>
                      <a:pt x="311893" y="263934"/>
                    </a:cubicBezTo>
                    <a:close/>
                  </a:path>
                </a:pathLst>
              </a:custGeom>
              <a:solidFill>
                <a:srgbClr val="2C7FF4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</p:grp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766EB2E-760C-4376-8752-7B81620A24FE}"/>
              </a:ext>
            </a:extLst>
          </p:cNvPr>
          <p:cNvSpPr txBox="1"/>
          <p:nvPr/>
        </p:nvSpPr>
        <p:spPr>
          <a:xfrm>
            <a:off x="914400" y="6270332"/>
            <a:ext cx="60935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 – Analytic-Edge Models</a:t>
            </a:r>
          </a:p>
        </p:txBody>
      </p:sp>
    </p:spTree>
    <p:extLst>
      <p:ext uri="{BB962C8B-B14F-4D97-AF65-F5344CB8AC3E}">
        <p14:creationId xmlns:p14="http://schemas.microsoft.com/office/powerpoint/2010/main" val="3478045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D248C7-7D50-4079-BF1C-58D9AD79EC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1" i="0" u="none" strike="noStrike" kern="1200" cap="none" spc="0" normalizeH="0" baseline="0" noProof="0" smtClean="0">
                <a:ln>
                  <a:noFill/>
                </a:ln>
                <a:solidFill>
                  <a:srgbClr val="186A43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IN" sz="800" b="1" i="0" u="none" strike="noStrike" kern="1200" cap="none" spc="0" normalizeH="0" baseline="0" noProof="0">
              <a:ln>
                <a:noFill/>
              </a:ln>
              <a:solidFill>
                <a:srgbClr val="186A43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B9C0A24-76DD-4626-9E93-77DCBCC0E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First time activations from Model  – First Time Activations KPI (Weekly)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C532A4-467E-4251-92AA-463EDB66D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186A43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A6779CD-F375-4855-AA3E-19C3C4C3FF5B}"/>
              </a:ext>
            </a:extLst>
          </p:cNvPr>
          <p:cNvSpPr txBox="1">
            <a:spLocks/>
          </p:cNvSpPr>
          <p:nvPr/>
        </p:nvSpPr>
        <p:spPr>
          <a:xfrm>
            <a:off x="937377" y="830696"/>
            <a:ext cx="10623418" cy="3960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+</a:t>
            </a: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07B62AA2-4A5C-4D0A-8C39-7864B42293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3146350"/>
              </p:ext>
            </p:extLst>
          </p:nvPr>
        </p:nvGraphicFramePr>
        <p:xfrm>
          <a:off x="695722" y="1084209"/>
          <a:ext cx="10654698" cy="5036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1" name="Google Shape;14;p2">
            <a:extLst>
              <a:ext uri="{FF2B5EF4-FFF2-40B4-BE49-F238E27FC236}">
                <a16:creationId xmlns:a16="http://schemas.microsoft.com/office/drawing/2014/main" id="{C325A4FD-BF3F-4AAE-8261-C25B81447CCF}"/>
              </a:ext>
            </a:extLst>
          </p:cNvPr>
          <p:cNvGrpSpPr/>
          <p:nvPr/>
        </p:nvGrpSpPr>
        <p:grpSpPr>
          <a:xfrm>
            <a:off x="11198614" y="6343198"/>
            <a:ext cx="822960" cy="182880"/>
            <a:chOff x="15867399" y="9251826"/>
            <a:chExt cx="1725920" cy="347510"/>
          </a:xfrm>
        </p:grpSpPr>
        <p:grpSp>
          <p:nvGrpSpPr>
            <p:cNvPr id="12" name="Google Shape;15;p2">
              <a:extLst>
                <a:ext uri="{FF2B5EF4-FFF2-40B4-BE49-F238E27FC236}">
                  <a16:creationId xmlns:a16="http://schemas.microsoft.com/office/drawing/2014/main" id="{AD16EC25-D1EE-4FD6-B2CC-3E66B50B692E}"/>
                </a:ext>
              </a:extLst>
            </p:cNvPr>
            <p:cNvGrpSpPr/>
            <p:nvPr/>
          </p:nvGrpSpPr>
          <p:grpSpPr>
            <a:xfrm>
              <a:off x="16500868" y="9262980"/>
              <a:ext cx="1092451" cy="336217"/>
              <a:chOff x="4940894" y="2609525"/>
              <a:chExt cx="5500759" cy="1694643"/>
            </a:xfrm>
          </p:grpSpPr>
          <p:sp>
            <p:nvSpPr>
              <p:cNvPr id="22" name="Google Shape;16;p2">
                <a:extLst>
                  <a:ext uri="{FF2B5EF4-FFF2-40B4-BE49-F238E27FC236}">
                    <a16:creationId xmlns:a16="http://schemas.microsoft.com/office/drawing/2014/main" id="{3ED6FD9B-F15A-459C-8808-EFE8E019B0C1}"/>
                  </a:ext>
                </a:extLst>
              </p:cNvPr>
              <p:cNvSpPr/>
              <p:nvPr/>
            </p:nvSpPr>
            <p:spPr>
              <a:xfrm>
                <a:off x="4940894" y="2609525"/>
                <a:ext cx="1771710" cy="1664870"/>
              </a:xfrm>
              <a:custGeom>
                <a:avLst/>
                <a:gdLst/>
                <a:ahLst/>
                <a:cxnLst/>
                <a:rect l="l" t="t" r="r" b="b"/>
                <a:pathLst>
                  <a:path w="1771710" h="1664870" extrusionOk="0">
                    <a:moveTo>
                      <a:pt x="0" y="0"/>
                    </a:moveTo>
                    <a:lnTo>
                      <a:pt x="329405" y="0"/>
                    </a:lnTo>
                    <a:lnTo>
                      <a:pt x="889445" y="1013178"/>
                    </a:lnTo>
                    <a:lnTo>
                      <a:pt x="1449486" y="0"/>
                    </a:lnTo>
                    <a:lnTo>
                      <a:pt x="1771711" y="0"/>
                    </a:lnTo>
                    <a:lnTo>
                      <a:pt x="1771711" y="1664870"/>
                    </a:lnTo>
                    <a:lnTo>
                      <a:pt x="1503073" y="1664870"/>
                    </a:lnTo>
                    <a:lnTo>
                      <a:pt x="1503073" y="388983"/>
                    </a:lnTo>
                    <a:lnTo>
                      <a:pt x="1012031" y="1272559"/>
                    </a:lnTo>
                    <a:lnTo>
                      <a:pt x="760030" y="1272559"/>
                    </a:lnTo>
                    <a:lnTo>
                      <a:pt x="268988" y="388983"/>
                    </a:lnTo>
                    <a:lnTo>
                      <a:pt x="268988" y="1664870"/>
                    </a:lnTo>
                    <a:lnTo>
                      <a:pt x="351" y="1664870"/>
                    </a:lnTo>
                    <a:lnTo>
                      <a:pt x="351" y="0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3" name="Google Shape;17;p2">
                <a:extLst>
                  <a:ext uri="{FF2B5EF4-FFF2-40B4-BE49-F238E27FC236}">
                    <a16:creationId xmlns:a16="http://schemas.microsoft.com/office/drawing/2014/main" id="{B95FADB2-2FEF-4EAD-A2C1-78C30EAE495B}"/>
                  </a:ext>
                </a:extLst>
              </p:cNvPr>
              <p:cNvSpPr/>
              <p:nvPr/>
            </p:nvSpPr>
            <p:spPr>
              <a:xfrm>
                <a:off x="6951471" y="3004463"/>
                <a:ext cx="1178571" cy="1299705"/>
              </a:xfrm>
              <a:custGeom>
                <a:avLst/>
                <a:gdLst/>
                <a:ahLst/>
                <a:cxnLst/>
                <a:rect l="l" t="t" r="r" b="b"/>
                <a:pathLst>
                  <a:path w="1178571" h="1299705" extrusionOk="0">
                    <a:moveTo>
                      <a:pt x="627813" y="1299706"/>
                    </a:moveTo>
                    <a:cubicBezTo>
                      <a:pt x="503301" y="1299706"/>
                      <a:pt x="394025" y="1272209"/>
                      <a:pt x="299634" y="1217040"/>
                    </a:cubicBezTo>
                    <a:cubicBezTo>
                      <a:pt x="205243" y="1161871"/>
                      <a:pt x="131692" y="1085686"/>
                      <a:pt x="79155" y="988134"/>
                    </a:cubicBezTo>
                    <a:cubicBezTo>
                      <a:pt x="26444" y="890581"/>
                      <a:pt x="0" y="778843"/>
                      <a:pt x="0" y="652743"/>
                    </a:cubicBezTo>
                    <a:cubicBezTo>
                      <a:pt x="0" y="525066"/>
                      <a:pt x="25743" y="412102"/>
                      <a:pt x="77229" y="313849"/>
                    </a:cubicBezTo>
                    <a:cubicBezTo>
                      <a:pt x="128715" y="215596"/>
                      <a:pt x="200340" y="138710"/>
                      <a:pt x="291929" y="83191"/>
                    </a:cubicBezTo>
                    <a:cubicBezTo>
                      <a:pt x="383517" y="27672"/>
                      <a:pt x="488766" y="0"/>
                      <a:pt x="607674" y="0"/>
                    </a:cubicBezTo>
                    <a:cubicBezTo>
                      <a:pt x="725706" y="0"/>
                      <a:pt x="827452" y="28022"/>
                      <a:pt x="912737" y="83892"/>
                    </a:cubicBezTo>
                    <a:cubicBezTo>
                      <a:pt x="998021" y="139761"/>
                      <a:pt x="1063516" y="218048"/>
                      <a:pt x="1109574" y="318753"/>
                    </a:cubicBezTo>
                    <a:cubicBezTo>
                      <a:pt x="1155455" y="419458"/>
                      <a:pt x="1178572" y="537501"/>
                      <a:pt x="1178572" y="673059"/>
                    </a:cubicBezTo>
                    <a:lnTo>
                      <a:pt x="1178572" y="746792"/>
                    </a:lnTo>
                    <a:lnTo>
                      <a:pt x="266536" y="746792"/>
                    </a:lnTo>
                    <a:cubicBezTo>
                      <a:pt x="283173" y="848373"/>
                      <a:pt x="324151" y="928236"/>
                      <a:pt x="389647" y="986382"/>
                    </a:cubicBezTo>
                    <a:cubicBezTo>
                      <a:pt x="454967" y="1044703"/>
                      <a:pt x="537625" y="1073776"/>
                      <a:pt x="637620" y="1073776"/>
                    </a:cubicBezTo>
                    <a:cubicBezTo>
                      <a:pt x="717650" y="1073776"/>
                      <a:pt x="786649" y="1061867"/>
                      <a:pt x="844439" y="1038048"/>
                    </a:cubicBezTo>
                    <a:cubicBezTo>
                      <a:pt x="902229" y="1014229"/>
                      <a:pt x="956517" y="978151"/>
                      <a:pt x="1007303" y="929812"/>
                    </a:cubicBezTo>
                    <a:lnTo>
                      <a:pt x="1150027" y="1104601"/>
                    </a:lnTo>
                    <a:cubicBezTo>
                      <a:pt x="1008003" y="1234729"/>
                      <a:pt x="833932" y="1299706"/>
                      <a:pt x="627813" y="1299706"/>
                    </a:cubicBezTo>
                    <a:close/>
                    <a:moveTo>
                      <a:pt x="824125" y="312098"/>
                    </a:moveTo>
                    <a:cubicBezTo>
                      <a:pt x="767910" y="254652"/>
                      <a:pt x="694184" y="225929"/>
                      <a:pt x="602945" y="225929"/>
                    </a:cubicBezTo>
                    <a:cubicBezTo>
                      <a:pt x="514159" y="225929"/>
                      <a:pt x="439907" y="255353"/>
                      <a:pt x="380015" y="313849"/>
                    </a:cubicBezTo>
                    <a:cubicBezTo>
                      <a:pt x="320123" y="372521"/>
                      <a:pt x="282297" y="451333"/>
                      <a:pt x="266536" y="550462"/>
                    </a:cubicBezTo>
                    <a:lnTo>
                      <a:pt x="920442" y="550462"/>
                    </a:lnTo>
                    <a:cubicBezTo>
                      <a:pt x="912386" y="449056"/>
                      <a:pt x="880339" y="369543"/>
                      <a:pt x="824125" y="312098"/>
                    </a:cubicBez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4" name="Google Shape;18;p2">
                <a:extLst>
                  <a:ext uri="{FF2B5EF4-FFF2-40B4-BE49-F238E27FC236}">
                    <a16:creationId xmlns:a16="http://schemas.microsoft.com/office/drawing/2014/main" id="{35822119-AF49-4808-B0CD-7DBB9E88F67A}"/>
                  </a:ext>
                </a:extLst>
              </p:cNvPr>
              <p:cNvSpPr/>
              <p:nvPr/>
            </p:nvSpPr>
            <p:spPr>
              <a:xfrm>
                <a:off x="8208497" y="2670123"/>
                <a:ext cx="882090" cy="1631418"/>
              </a:xfrm>
              <a:custGeom>
                <a:avLst/>
                <a:gdLst/>
                <a:ahLst/>
                <a:cxnLst/>
                <a:rect l="l" t="t" r="r" b="b"/>
                <a:pathLst>
                  <a:path w="882090" h="1631418" extrusionOk="0">
                    <a:moveTo>
                      <a:pt x="247273" y="583913"/>
                    </a:moveTo>
                    <a:lnTo>
                      <a:pt x="0" y="583913"/>
                    </a:lnTo>
                    <a:lnTo>
                      <a:pt x="0" y="363939"/>
                    </a:lnTo>
                    <a:lnTo>
                      <a:pt x="247273" y="363939"/>
                    </a:lnTo>
                    <a:lnTo>
                      <a:pt x="247273" y="0"/>
                    </a:lnTo>
                    <a:lnTo>
                      <a:pt x="506453" y="0"/>
                    </a:lnTo>
                    <a:lnTo>
                      <a:pt x="506453" y="363939"/>
                    </a:lnTo>
                    <a:lnTo>
                      <a:pt x="882090" y="363939"/>
                    </a:lnTo>
                    <a:lnTo>
                      <a:pt x="882090" y="583913"/>
                    </a:lnTo>
                    <a:lnTo>
                      <a:pt x="506278" y="583913"/>
                    </a:lnTo>
                    <a:lnTo>
                      <a:pt x="506278" y="1141555"/>
                    </a:lnTo>
                    <a:cubicBezTo>
                      <a:pt x="506278" y="1234379"/>
                      <a:pt x="522214" y="1300581"/>
                      <a:pt x="553912" y="1340163"/>
                    </a:cubicBezTo>
                    <a:cubicBezTo>
                      <a:pt x="585609" y="1379744"/>
                      <a:pt x="639897" y="1399710"/>
                      <a:pt x="716775" y="1399535"/>
                    </a:cubicBezTo>
                    <a:cubicBezTo>
                      <a:pt x="750924" y="1399535"/>
                      <a:pt x="779819" y="1398134"/>
                      <a:pt x="803636" y="1395332"/>
                    </a:cubicBezTo>
                    <a:cubicBezTo>
                      <a:pt x="827452" y="1392529"/>
                      <a:pt x="853546" y="1388851"/>
                      <a:pt x="882090" y="1383948"/>
                    </a:cubicBezTo>
                    <a:lnTo>
                      <a:pt x="882090" y="1601645"/>
                    </a:lnTo>
                    <a:cubicBezTo>
                      <a:pt x="849517" y="1611103"/>
                      <a:pt x="816420" y="1618283"/>
                      <a:pt x="782796" y="1623012"/>
                    </a:cubicBezTo>
                    <a:cubicBezTo>
                      <a:pt x="744444" y="1628616"/>
                      <a:pt x="705742" y="1631419"/>
                      <a:pt x="666865" y="1631419"/>
                    </a:cubicBezTo>
                    <a:cubicBezTo>
                      <a:pt x="387020" y="1631419"/>
                      <a:pt x="247097" y="1478347"/>
                      <a:pt x="247097" y="1172380"/>
                    </a:cubicBezTo>
                    <a:lnTo>
                      <a:pt x="247273" y="583913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5" name="Google Shape;19;p2">
                <a:extLst>
                  <a:ext uri="{FF2B5EF4-FFF2-40B4-BE49-F238E27FC236}">
                    <a16:creationId xmlns:a16="http://schemas.microsoft.com/office/drawing/2014/main" id="{7068C831-E486-40A2-BFA5-A903415A9672}"/>
                  </a:ext>
                </a:extLst>
              </p:cNvPr>
              <p:cNvSpPr/>
              <p:nvPr/>
            </p:nvSpPr>
            <p:spPr>
              <a:xfrm>
                <a:off x="9214573" y="3004463"/>
                <a:ext cx="1227080" cy="1299705"/>
              </a:xfrm>
              <a:custGeom>
                <a:avLst/>
                <a:gdLst/>
                <a:ahLst/>
                <a:cxnLst/>
                <a:rect l="l" t="t" r="r" b="b"/>
                <a:pathLst>
                  <a:path w="1227080" h="1299705" extrusionOk="0">
                    <a:moveTo>
                      <a:pt x="1226906" y="1269932"/>
                    </a:moveTo>
                    <a:lnTo>
                      <a:pt x="972454" y="1269932"/>
                    </a:lnTo>
                    <a:lnTo>
                      <a:pt x="972454" y="1096369"/>
                    </a:lnTo>
                    <a:cubicBezTo>
                      <a:pt x="927272" y="1161346"/>
                      <a:pt x="869832" y="1211611"/>
                      <a:pt x="800134" y="1246814"/>
                    </a:cubicBezTo>
                    <a:cubicBezTo>
                      <a:pt x="730434" y="1282017"/>
                      <a:pt x="651104" y="1299706"/>
                      <a:pt x="562317" y="1299706"/>
                    </a:cubicBezTo>
                    <a:cubicBezTo>
                      <a:pt x="452866" y="1299706"/>
                      <a:pt x="356024" y="1271683"/>
                      <a:pt x="271615" y="1215814"/>
                    </a:cubicBezTo>
                    <a:cubicBezTo>
                      <a:pt x="187206" y="1159945"/>
                      <a:pt x="120834" y="1083059"/>
                      <a:pt x="72501" y="985156"/>
                    </a:cubicBezTo>
                    <a:cubicBezTo>
                      <a:pt x="24167" y="887253"/>
                      <a:pt x="0" y="775340"/>
                      <a:pt x="0" y="649240"/>
                    </a:cubicBezTo>
                    <a:cubicBezTo>
                      <a:pt x="0" y="522439"/>
                      <a:pt x="24517" y="410175"/>
                      <a:pt x="73727" y="312623"/>
                    </a:cubicBezTo>
                    <a:cubicBezTo>
                      <a:pt x="122936" y="215071"/>
                      <a:pt x="190883" y="138710"/>
                      <a:pt x="277569" y="83191"/>
                    </a:cubicBezTo>
                    <a:cubicBezTo>
                      <a:pt x="364429" y="27672"/>
                      <a:pt x="464074" y="0"/>
                      <a:pt x="576678" y="0"/>
                    </a:cubicBezTo>
                    <a:cubicBezTo>
                      <a:pt x="661437" y="0"/>
                      <a:pt x="737615" y="16463"/>
                      <a:pt x="805037" y="49389"/>
                    </a:cubicBezTo>
                    <a:cubicBezTo>
                      <a:pt x="871583" y="81615"/>
                      <a:pt x="929023" y="129603"/>
                      <a:pt x="972629" y="189150"/>
                    </a:cubicBezTo>
                    <a:lnTo>
                      <a:pt x="972629" y="29774"/>
                    </a:lnTo>
                    <a:lnTo>
                      <a:pt x="1227081" y="29774"/>
                    </a:lnTo>
                    <a:lnTo>
                      <a:pt x="1227081" y="1269932"/>
                    </a:lnTo>
                    <a:close/>
                    <a:moveTo>
                      <a:pt x="967550" y="463768"/>
                    </a:moveTo>
                    <a:cubicBezTo>
                      <a:pt x="939705" y="393187"/>
                      <a:pt x="895925" y="337493"/>
                      <a:pt x="836208" y="296685"/>
                    </a:cubicBezTo>
                    <a:cubicBezTo>
                      <a:pt x="776317" y="255878"/>
                      <a:pt x="707144" y="235387"/>
                      <a:pt x="628688" y="235387"/>
                    </a:cubicBezTo>
                    <a:cubicBezTo>
                      <a:pt x="517661" y="235387"/>
                      <a:pt x="429400" y="272691"/>
                      <a:pt x="363554" y="347125"/>
                    </a:cubicBezTo>
                    <a:cubicBezTo>
                      <a:pt x="297708" y="421559"/>
                      <a:pt x="264785" y="522264"/>
                      <a:pt x="264785" y="649240"/>
                    </a:cubicBezTo>
                    <a:cubicBezTo>
                      <a:pt x="264785" y="776916"/>
                      <a:pt x="296482" y="877971"/>
                      <a:pt x="359876" y="952405"/>
                    </a:cubicBezTo>
                    <a:cubicBezTo>
                      <a:pt x="423270" y="1027014"/>
                      <a:pt x="509256" y="1064144"/>
                      <a:pt x="617831" y="1064144"/>
                    </a:cubicBezTo>
                    <a:cubicBezTo>
                      <a:pt x="697862" y="1064144"/>
                      <a:pt x="769137" y="1043477"/>
                      <a:pt x="831830" y="1002320"/>
                    </a:cubicBezTo>
                    <a:cubicBezTo>
                      <a:pt x="894524" y="961162"/>
                      <a:pt x="939705" y="905643"/>
                      <a:pt x="967375" y="835763"/>
                    </a:cubicBezTo>
                    <a:lnTo>
                      <a:pt x="967550" y="463768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</p:grpSp>
        <p:grpSp>
          <p:nvGrpSpPr>
            <p:cNvPr id="14" name="Google Shape;20;p2">
              <a:extLst>
                <a:ext uri="{FF2B5EF4-FFF2-40B4-BE49-F238E27FC236}">
                  <a16:creationId xmlns:a16="http://schemas.microsoft.com/office/drawing/2014/main" id="{94DD7928-3FE6-4DBF-8B63-5DB8EEFBDD37}"/>
                </a:ext>
              </a:extLst>
            </p:cNvPr>
            <p:cNvGrpSpPr/>
            <p:nvPr/>
          </p:nvGrpSpPr>
          <p:grpSpPr>
            <a:xfrm>
              <a:off x="15867399" y="9251826"/>
              <a:ext cx="523393" cy="347510"/>
              <a:chOff x="1751220" y="2553305"/>
              <a:chExt cx="2635412" cy="1751564"/>
            </a:xfrm>
          </p:grpSpPr>
          <p:grpSp>
            <p:nvGrpSpPr>
              <p:cNvPr id="15" name="Google Shape;21;p2">
                <a:extLst>
                  <a:ext uri="{FF2B5EF4-FFF2-40B4-BE49-F238E27FC236}">
                    <a16:creationId xmlns:a16="http://schemas.microsoft.com/office/drawing/2014/main" id="{4B97564F-79C4-43C4-B781-E179FF8B948E}"/>
                  </a:ext>
                </a:extLst>
              </p:cNvPr>
              <p:cNvGrpSpPr/>
              <p:nvPr/>
            </p:nvGrpSpPr>
            <p:grpSpPr>
              <a:xfrm>
                <a:off x="1751220" y="2553305"/>
                <a:ext cx="2635412" cy="1751564"/>
                <a:chOff x="1751220" y="2553305"/>
                <a:chExt cx="2635412" cy="1751564"/>
              </a:xfrm>
            </p:grpSpPr>
            <p:sp>
              <p:nvSpPr>
                <p:cNvPr id="18" name="Google Shape;22;p2">
                  <a:extLst>
                    <a:ext uri="{FF2B5EF4-FFF2-40B4-BE49-F238E27FC236}">
                      <a16:creationId xmlns:a16="http://schemas.microsoft.com/office/drawing/2014/main" id="{07DD8193-B33C-42C3-8CA2-CF48C59A3CC6}"/>
                    </a:ext>
                  </a:extLst>
                </p:cNvPr>
                <p:cNvSpPr/>
                <p:nvPr/>
              </p:nvSpPr>
              <p:spPr>
                <a:xfrm>
                  <a:off x="3069540" y="3101490"/>
                  <a:ext cx="1317092" cy="12033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7092" h="1203379" extrusionOk="0">
                      <a:moveTo>
                        <a:pt x="1277166" y="226980"/>
                      </a:moveTo>
                      <a:lnTo>
                        <a:pt x="1020962" y="226980"/>
                      </a:lnTo>
                      <a:cubicBezTo>
                        <a:pt x="1049682" y="343622"/>
                        <a:pt x="1065618" y="472875"/>
                        <a:pt x="1065618" y="608958"/>
                      </a:cubicBezTo>
                      <a:cubicBezTo>
                        <a:pt x="1065618" y="804588"/>
                        <a:pt x="1001523" y="918253"/>
                        <a:pt x="868780" y="918253"/>
                      </a:cubicBezTo>
                      <a:cubicBezTo>
                        <a:pt x="741467" y="918253"/>
                        <a:pt x="680700" y="834187"/>
                        <a:pt x="439031" y="445378"/>
                      </a:cubicBezTo>
                      <a:lnTo>
                        <a:pt x="284573" y="187749"/>
                      </a:lnTo>
                      <a:cubicBezTo>
                        <a:pt x="242719" y="119795"/>
                        <a:pt x="202616" y="57095"/>
                        <a:pt x="164089" y="0"/>
                      </a:cubicBezTo>
                      <a:lnTo>
                        <a:pt x="21365" y="0"/>
                      </a:lnTo>
                      <a:lnTo>
                        <a:pt x="0" y="277420"/>
                      </a:lnTo>
                      <a:cubicBezTo>
                        <a:pt x="27669" y="322080"/>
                        <a:pt x="56915" y="370244"/>
                        <a:pt x="87561" y="421910"/>
                      </a:cubicBezTo>
                      <a:lnTo>
                        <a:pt x="216801" y="639257"/>
                      </a:lnTo>
                      <a:cubicBezTo>
                        <a:pt x="468452" y="1060466"/>
                        <a:pt x="608724" y="1203379"/>
                        <a:pt x="863002" y="1203379"/>
                      </a:cubicBezTo>
                      <a:cubicBezTo>
                        <a:pt x="1154755" y="1203379"/>
                        <a:pt x="1317093" y="967117"/>
                        <a:pt x="1317093" y="589868"/>
                      </a:cubicBezTo>
                      <a:cubicBezTo>
                        <a:pt x="1316918" y="463417"/>
                        <a:pt x="1302908" y="341346"/>
                        <a:pt x="1277166" y="226980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64E0"/>
                    </a:gs>
                    <a:gs pos="13000">
                      <a:srgbClr val="0064E0"/>
                    </a:gs>
                    <a:gs pos="82000">
                      <a:srgbClr val="2C7FF4"/>
                    </a:gs>
                    <a:gs pos="100000">
                      <a:srgbClr val="2C7FF4"/>
                    </a:gs>
                  </a:gsLst>
                  <a:lin ang="0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19" name="Google Shape;23;p2">
                  <a:extLst>
                    <a:ext uri="{FF2B5EF4-FFF2-40B4-BE49-F238E27FC236}">
                      <a16:creationId xmlns:a16="http://schemas.microsoft.com/office/drawing/2014/main" id="{B6535C75-406E-4C9A-810E-B03663B19C43}"/>
                    </a:ext>
                  </a:extLst>
                </p:cNvPr>
                <p:cNvSpPr/>
                <p:nvPr/>
              </p:nvSpPr>
              <p:spPr>
                <a:xfrm>
                  <a:off x="3091079" y="2553305"/>
                  <a:ext cx="1255800" cy="775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5800" h="775164" extrusionOk="0">
                      <a:moveTo>
                        <a:pt x="533422" y="225929"/>
                      </a:moveTo>
                      <a:cubicBezTo>
                        <a:pt x="741992" y="225929"/>
                        <a:pt x="919916" y="451683"/>
                        <a:pt x="999597" y="775165"/>
                      </a:cubicBezTo>
                      <a:lnTo>
                        <a:pt x="1255801" y="775165"/>
                      </a:lnTo>
                      <a:cubicBezTo>
                        <a:pt x="1155455" y="329086"/>
                        <a:pt x="876311" y="0"/>
                        <a:pt x="551635" y="0"/>
                      </a:cubicBezTo>
                      <a:cubicBezTo>
                        <a:pt x="335534" y="0"/>
                        <a:pt x="166716" y="162704"/>
                        <a:pt x="13660" y="369543"/>
                      </a:cubicBezTo>
                      <a:lnTo>
                        <a:pt x="0" y="548010"/>
                      </a:lnTo>
                      <a:lnTo>
                        <a:pt x="142725" y="548010"/>
                      </a:lnTo>
                      <a:cubicBezTo>
                        <a:pt x="281772" y="332939"/>
                        <a:pt x="396652" y="225929"/>
                        <a:pt x="533422" y="225929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2C7FF4"/>
                    </a:gs>
                    <a:gs pos="13000">
                      <a:srgbClr val="2C7FF4"/>
                    </a:gs>
                    <a:gs pos="100000">
                      <a:srgbClr val="128DFF"/>
                    </a:gs>
                  </a:gsLst>
                  <a:lin ang="10800025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20" name="Google Shape;24;p2">
                  <a:extLst>
                    <a:ext uri="{FF2B5EF4-FFF2-40B4-BE49-F238E27FC236}">
                      <a16:creationId xmlns:a16="http://schemas.microsoft.com/office/drawing/2014/main" id="{3A8B30AD-2D9E-4D1A-8183-AE701DA4C87C}"/>
                    </a:ext>
                  </a:extLst>
                </p:cNvPr>
                <p:cNvSpPr/>
                <p:nvPr/>
              </p:nvSpPr>
              <p:spPr>
                <a:xfrm>
                  <a:off x="1751220" y="2553305"/>
                  <a:ext cx="1353343" cy="1751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53343" h="1751388" extrusionOk="0">
                      <a:moveTo>
                        <a:pt x="757228" y="0"/>
                      </a:moveTo>
                      <a:cubicBezTo>
                        <a:pt x="328529" y="0"/>
                        <a:pt x="0" y="557992"/>
                        <a:pt x="0" y="1148736"/>
                      </a:cubicBezTo>
                      <a:cubicBezTo>
                        <a:pt x="0" y="1518279"/>
                        <a:pt x="178800" y="1751389"/>
                        <a:pt x="478258" y="1751389"/>
                      </a:cubicBezTo>
                      <a:cubicBezTo>
                        <a:pt x="693834" y="1751389"/>
                        <a:pt x="848817" y="1649808"/>
                        <a:pt x="1124459" y="1168001"/>
                      </a:cubicBezTo>
                      <a:cubicBezTo>
                        <a:pt x="1124459" y="1168001"/>
                        <a:pt x="1239339" y="965190"/>
                        <a:pt x="1318319" y="825430"/>
                      </a:cubicBezTo>
                      <a:lnTo>
                        <a:pt x="1318319" y="825430"/>
                      </a:lnTo>
                      <a:lnTo>
                        <a:pt x="1353344" y="369543"/>
                      </a:lnTo>
                      <a:cubicBezTo>
                        <a:pt x="1143197" y="101931"/>
                        <a:pt x="967550" y="0"/>
                        <a:pt x="757228" y="0"/>
                      </a:cubicBezTo>
                      <a:close/>
                      <a:moveTo>
                        <a:pt x="914312" y="1037523"/>
                      </a:moveTo>
                      <a:cubicBezTo>
                        <a:pt x="690857" y="1387800"/>
                        <a:pt x="613628" y="1466263"/>
                        <a:pt x="489116" y="1466263"/>
                      </a:cubicBezTo>
                      <a:cubicBezTo>
                        <a:pt x="361102" y="1466263"/>
                        <a:pt x="284924" y="1353824"/>
                        <a:pt x="284924" y="1153465"/>
                      </a:cubicBezTo>
                      <a:cubicBezTo>
                        <a:pt x="284924" y="724725"/>
                        <a:pt x="498748" y="286177"/>
                        <a:pt x="753550" y="286177"/>
                      </a:cubicBezTo>
                      <a:cubicBezTo>
                        <a:pt x="891547" y="286177"/>
                        <a:pt x="1006952" y="365865"/>
                        <a:pt x="1183475" y="618766"/>
                      </a:cubicBezTo>
                      <a:cubicBezTo>
                        <a:pt x="1015883" y="876220"/>
                        <a:pt x="914312" y="1037523"/>
                        <a:pt x="914312" y="1037523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64E0"/>
                    </a:gs>
                    <a:gs pos="36000">
                      <a:srgbClr val="0064E0"/>
                    </a:gs>
                    <a:gs pos="78000">
                      <a:srgbClr val="128DFF"/>
                    </a:gs>
                    <a:gs pos="100000">
                      <a:srgbClr val="128DFF"/>
                    </a:gs>
                  </a:gsLst>
                  <a:lin ang="1801379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21" name="Google Shape;25;p2">
                  <a:extLst>
                    <a:ext uri="{FF2B5EF4-FFF2-40B4-BE49-F238E27FC236}">
                      <a16:creationId xmlns:a16="http://schemas.microsoft.com/office/drawing/2014/main" id="{1950DF61-E6ED-4817-B1C7-417E081E60D0}"/>
                    </a:ext>
                  </a:extLst>
                </p:cNvPr>
                <p:cNvSpPr/>
                <p:nvPr/>
              </p:nvSpPr>
              <p:spPr>
                <a:xfrm>
                  <a:off x="2504771" y="2553305"/>
                  <a:ext cx="849517" cy="10023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9517" h="1002319" extrusionOk="0">
                      <a:moveTo>
                        <a:pt x="849517" y="735758"/>
                      </a:moveTo>
                      <a:cubicBezTo>
                        <a:pt x="514509" y="190901"/>
                        <a:pt x="291578" y="0"/>
                        <a:pt x="3678" y="0"/>
                      </a:cubicBezTo>
                      <a:lnTo>
                        <a:pt x="0" y="286177"/>
                      </a:lnTo>
                      <a:cubicBezTo>
                        <a:pt x="188431" y="286177"/>
                        <a:pt x="334483" y="434695"/>
                        <a:pt x="652155" y="969744"/>
                      </a:cubicBezTo>
                      <a:lnTo>
                        <a:pt x="671593" y="1002320"/>
                      </a:lnTo>
                      <a:lnTo>
                        <a:pt x="849517" y="735758"/>
                      </a:lnTo>
                      <a:close/>
                    </a:path>
                  </a:pathLst>
                </a:custGeom>
                <a:solidFill>
                  <a:srgbClr val="0064E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</p:grpSp>
          <p:sp>
            <p:nvSpPr>
              <p:cNvPr id="17" name="Google Shape;26;p2">
                <a:extLst>
                  <a:ext uri="{FF2B5EF4-FFF2-40B4-BE49-F238E27FC236}">
                    <a16:creationId xmlns:a16="http://schemas.microsoft.com/office/drawing/2014/main" id="{D3D18760-C515-4296-816A-66A5CD47A886}"/>
                  </a:ext>
                </a:extLst>
              </p:cNvPr>
              <p:cNvSpPr/>
              <p:nvPr/>
            </p:nvSpPr>
            <p:spPr>
              <a:xfrm>
                <a:off x="4034812" y="3064536"/>
                <a:ext cx="329229" cy="361311"/>
              </a:xfrm>
              <a:custGeom>
                <a:avLst/>
                <a:gdLst/>
                <a:ahLst/>
                <a:cxnLst/>
                <a:rect l="l" t="t" r="r" b="b"/>
                <a:pathLst>
                  <a:path w="329229" h="361311" extrusionOk="0">
                    <a:moveTo>
                      <a:pt x="311893" y="263934"/>
                    </a:moveTo>
                    <a:lnTo>
                      <a:pt x="311893" y="263934"/>
                    </a:lnTo>
                    <a:cubicBezTo>
                      <a:pt x="291053" y="170060"/>
                      <a:pt x="261983" y="81440"/>
                      <a:pt x="226258" y="0"/>
                    </a:cubicBezTo>
                    <a:lnTo>
                      <a:pt x="0" y="90547"/>
                    </a:lnTo>
                    <a:cubicBezTo>
                      <a:pt x="21890" y="144139"/>
                      <a:pt x="40628" y="202285"/>
                      <a:pt x="55864" y="263934"/>
                    </a:cubicBezTo>
                    <a:lnTo>
                      <a:pt x="55689" y="263934"/>
                    </a:lnTo>
                    <a:cubicBezTo>
                      <a:pt x="63394" y="295459"/>
                      <a:pt x="70224" y="328035"/>
                      <a:pt x="76003" y="361311"/>
                    </a:cubicBezTo>
                    <a:lnTo>
                      <a:pt x="329230" y="353080"/>
                    </a:lnTo>
                    <a:cubicBezTo>
                      <a:pt x="324326" y="322781"/>
                      <a:pt x="318547" y="293183"/>
                      <a:pt x="311893" y="263934"/>
                    </a:cubicBezTo>
                    <a:close/>
                  </a:path>
                </a:pathLst>
              </a:custGeom>
              <a:solidFill>
                <a:srgbClr val="2C7FF4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</p:grp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766EB2E-760C-4376-8752-7B81620A24FE}"/>
              </a:ext>
            </a:extLst>
          </p:cNvPr>
          <p:cNvSpPr txBox="1"/>
          <p:nvPr/>
        </p:nvSpPr>
        <p:spPr>
          <a:xfrm>
            <a:off x="914400" y="6270332"/>
            <a:ext cx="60935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 – Analytic-Edge Model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BE7DBC-4094-4B35-AF70-4BB0E824C2B3}"/>
              </a:ext>
            </a:extLst>
          </p:cNvPr>
          <p:cNvSpPr/>
          <p:nvPr/>
        </p:nvSpPr>
        <p:spPr>
          <a:xfrm>
            <a:off x="502927" y="6415437"/>
            <a:ext cx="2558540" cy="24266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vid includes Mobility only</a:t>
            </a:r>
            <a:endParaRPr lang="en-IN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8685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D248C7-7D50-4079-BF1C-58D9AD79EC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1" i="0" u="none" strike="noStrike" kern="1200" cap="none" spc="0" normalizeH="0" baseline="0" noProof="0" smtClean="0">
                <a:ln>
                  <a:noFill/>
                </a:ln>
                <a:solidFill>
                  <a:srgbClr val="186A43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IN" sz="800" b="1" i="0" u="none" strike="noStrike" kern="1200" cap="none" spc="0" normalizeH="0" baseline="0" noProof="0">
              <a:ln>
                <a:noFill/>
              </a:ln>
              <a:solidFill>
                <a:srgbClr val="186A43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B9C0A24-76DD-4626-9E93-77DCBCC0E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First time activations from Model  – First Time Activations KPI (Weekly)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C532A4-467E-4251-92AA-463EDB66D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186A43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A6779CD-F375-4855-AA3E-19C3C4C3FF5B}"/>
              </a:ext>
            </a:extLst>
          </p:cNvPr>
          <p:cNvSpPr txBox="1">
            <a:spLocks/>
          </p:cNvSpPr>
          <p:nvPr/>
        </p:nvSpPr>
        <p:spPr>
          <a:xfrm>
            <a:off x="937377" y="830696"/>
            <a:ext cx="10623418" cy="3960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+</a:t>
            </a: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07B62AA2-4A5C-4D0A-8C39-7864B42293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9935516"/>
              </p:ext>
            </p:extLst>
          </p:nvPr>
        </p:nvGraphicFramePr>
        <p:xfrm>
          <a:off x="695722" y="1084209"/>
          <a:ext cx="10654698" cy="5036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1" name="Google Shape;14;p2">
            <a:extLst>
              <a:ext uri="{FF2B5EF4-FFF2-40B4-BE49-F238E27FC236}">
                <a16:creationId xmlns:a16="http://schemas.microsoft.com/office/drawing/2014/main" id="{C325A4FD-BF3F-4AAE-8261-C25B81447CCF}"/>
              </a:ext>
            </a:extLst>
          </p:cNvPr>
          <p:cNvGrpSpPr/>
          <p:nvPr/>
        </p:nvGrpSpPr>
        <p:grpSpPr>
          <a:xfrm>
            <a:off x="11198614" y="6343198"/>
            <a:ext cx="822960" cy="182880"/>
            <a:chOff x="15867399" y="9251826"/>
            <a:chExt cx="1725920" cy="347510"/>
          </a:xfrm>
        </p:grpSpPr>
        <p:grpSp>
          <p:nvGrpSpPr>
            <p:cNvPr id="12" name="Google Shape;15;p2">
              <a:extLst>
                <a:ext uri="{FF2B5EF4-FFF2-40B4-BE49-F238E27FC236}">
                  <a16:creationId xmlns:a16="http://schemas.microsoft.com/office/drawing/2014/main" id="{AD16EC25-D1EE-4FD6-B2CC-3E66B50B692E}"/>
                </a:ext>
              </a:extLst>
            </p:cNvPr>
            <p:cNvGrpSpPr/>
            <p:nvPr/>
          </p:nvGrpSpPr>
          <p:grpSpPr>
            <a:xfrm>
              <a:off x="16500868" y="9262980"/>
              <a:ext cx="1092451" cy="336217"/>
              <a:chOff x="4940894" y="2609525"/>
              <a:chExt cx="5500759" cy="1694643"/>
            </a:xfrm>
          </p:grpSpPr>
          <p:sp>
            <p:nvSpPr>
              <p:cNvPr id="22" name="Google Shape;16;p2">
                <a:extLst>
                  <a:ext uri="{FF2B5EF4-FFF2-40B4-BE49-F238E27FC236}">
                    <a16:creationId xmlns:a16="http://schemas.microsoft.com/office/drawing/2014/main" id="{3ED6FD9B-F15A-459C-8808-EFE8E019B0C1}"/>
                  </a:ext>
                </a:extLst>
              </p:cNvPr>
              <p:cNvSpPr/>
              <p:nvPr/>
            </p:nvSpPr>
            <p:spPr>
              <a:xfrm>
                <a:off x="4940894" y="2609525"/>
                <a:ext cx="1771710" cy="1664870"/>
              </a:xfrm>
              <a:custGeom>
                <a:avLst/>
                <a:gdLst/>
                <a:ahLst/>
                <a:cxnLst/>
                <a:rect l="l" t="t" r="r" b="b"/>
                <a:pathLst>
                  <a:path w="1771710" h="1664870" extrusionOk="0">
                    <a:moveTo>
                      <a:pt x="0" y="0"/>
                    </a:moveTo>
                    <a:lnTo>
                      <a:pt x="329405" y="0"/>
                    </a:lnTo>
                    <a:lnTo>
                      <a:pt x="889445" y="1013178"/>
                    </a:lnTo>
                    <a:lnTo>
                      <a:pt x="1449486" y="0"/>
                    </a:lnTo>
                    <a:lnTo>
                      <a:pt x="1771711" y="0"/>
                    </a:lnTo>
                    <a:lnTo>
                      <a:pt x="1771711" y="1664870"/>
                    </a:lnTo>
                    <a:lnTo>
                      <a:pt x="1503073" y="1664870"/>
                    </a:lnTo>
                    <a:lnTo>
                      <a:pt x="1503073" y="388983"/>
                    </a:lnTo>
                    <a:lnTo>
                      <a:pt x="1012031" y="1272559"/>
                    </a:lnTo>
                    <a:lnTo>
                      <a:pt x="760030" y="1272559"/>
                    </a:lnTo>
                    <a:lnTo>
                      <a:pt x="268988" y="388983"/>
                    </a:lnTo>
                    <a:lnTo>
                      <a:pt x="268988" y="1664870"/>
                    </a:lnTo>
                    <a:lnTo>
                      <a:pt x="351" y="1664870"/>
                    </a:lnTo>
                    <a:lnTo>
                      <a:pt x="351" y="0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3" name="Google Shape;17;p2">
                <a:extLst>
                  <a:ext uri="{FF2B5EF4-FFF2-40B4-BE49-F238E27FC236}">
                    <a16:creationId xmlns:a16="http://schemas.microsoft.com/office/drawing/2014/main" id="{B95FADB2-2FEF-4EAD-A2C1-78C30EAE495B}"/>
                  </a:ext>
                </a:extLst>
              </p:cNvPr>
              <p:cNvSpPr/>
              <p:nvPr/>
            </p:nvSpPr>
            <p:spPr>
              <a:xfrm>
                <a:off x="6951471" y="3004463"/>
                <a:ext cx="1178571" cy="1299705"/>
              </a:xfrm>
              <a:custGeom>
                <a:avLst/>
                <a:gdLst/>
                <a:ahLst/>
                <a:cxnLst/>
                <a:rect l="l" t="t" r="r" b="b"/>
                <a:pathLst>
                  <a:path w="1178571" h="1299705" extrusionOk="0">
                    <a:moveTo>
                      <a:pt x="627813" y="1299706"/>
                    </a:moveTo>
                    <a:cubicBezTo>
                      <a:pt x="503301" y="1299706"/>
                      <a:pt x="394025" y="1272209"/>
                      <a:pt x="299634" y="1217040"/>
                    </a:cubicBezTo>
                    <a:cubicBezTo>
                      <a:pt x="205243" y="1161871"/>
                      <a:pt x="131692" y="1085686"/>
                      <a:pt x="79155" y="988134"/>
                    </a:cubicBezTo>
                    <a:cubicBezTo>
                      <a:pt x="26444" y="890581"/>
                      <a:pt x="0" y="778843"/>
                      <a:pt x="0" y="652743"/>
                    </a:cubicBezTo>
                    <a:cubicBezTo>
                      <a:pt x="0" y="525066"/>
                      <a:pt x="25743" y="412102"/>
                      <a:pt x="77229" y="313849"/>
                    </a:cubicBezTo>
                    <a:cubicBezTo>
                      <a:pt x="128715" y="215596"/>
                      <a:pt x="200340" y="138710"/>
                      <a:pt x="291929" y="83191"/>
                    </a:cubicBezTo>
                    <a:cubicBezTo>
                      <a:pt x="383517" y="27672"/>
                      <a:pt x="488766" y="0"/>
                      <a:pt x="607674" y="0"/>
                    </a:cubicBezTo>
                    <a:cubicBezTo>
                      <a:pt x="725706" y="0"/>
                      <a:pt x="827452" y="28022"/>
                      <a:pt x="912737" y="83892"/>
                    </a:cubicBezTo>
                    <a:cubicBezTo>
                      <a:pt x="998021" y="139761"/>
                      <a:pt x="1063516" y="218048"/>
                      <a:pt x="1109574" y="318753"/>
                    </a:cubicBezTo>
                    <a:cubicBezTo>
                      <a:pt x="1155455" y="419458"/>
                      <a:pt x="1178572" y="537501"/>
                      <a:pt x="1178572" y="673059"/>
                    </a:cubicBezTo>
                    <a:lnTo>
                      <a:pt x="1178572" y="746792"/>
                    </a:lnTo>
                    <a:lnTo>
                      <a:pt x="266536" y="746792"/>
                    </a:lnTo>
                    <a:cubicBezTo>
                      <a:pt x="283173" y="848373"/>
                      <a:pt x="324151" y="928236"/>
                      <a:pt x="389647" y="986382"/>
                    </a:cubicBezTo>
                    <a:cubicBezTo>
                      <a:pt x="454967" y="1044703"/>
                      <a:pt x="537625" y="1073776"/>
                      <a:pt x="637620" y="1073776"/>
                    </a:cubicBezTo>
                    <a:cubicBezTo>
                      <a:pt x="717650" y="1073776"/>
                      <a:pt x="786649" y="1061867"/>
                      <a:pt x="844439" y="1038048"/>
                    </a:cubicBezTo>
                    <a:cubicBezTo>
                      <a:pt x="902229" y="1014229"/>
                      <a:pt x="956517" y="978151"/>
                      <a:pt x="1007303" y="929812"/>
                    </a:cubicBezTo>
                    <a:lnTo>
                      <a:pt x="1150027" y="1104601"/>
                    </a:lnTo>
                    <a:cubicBezTo>
                      <a:pt x="1008003" y="1234729"/>
                      <a:pt x="833932" y="1299706"/>
                      <a:pt x="627813" y="1299706"/>
                    </a:cubicBezTo>
                    <a:close/>
                    <a:moveTo>
                      <a:pt x="824125" y="312098"/>
                    </a:moveTo>
                    <a:cubicBezTo>
                      <a:pt x="767910" y="254652"/>
                      <a:pt x="694184" y="225929"/>
                      <a:pt x="602945" y="225929"/>
                    </a:cubicBezTo>
                    <a:cubicBezTo>
                      <a:pt x="514159" y="225929"/>
                      <a:pt x="439907" y="255353"/>
                      <a:pt x="380015" y="313849"/>
                    </a:cubicBezTo>
                    <a:cubicBezTo>
                      <a:pt x="320123" y="372521"/>
                      <a:pt x="282297" y="451333"/>
                      <a:pt x="266536" y="550462"/>
                    </a:cubicBezTo>
                    <a:lnTo>
                      <a:pt x="920442" y="550462"/>
                    </a:lnTo>
                    <a:cubicBezTo>
                      <a:pt x="912386" y="449056"/>
                      <a:pt x="880339" y="369543"/>
                      <a:pt x="824125" y="312098"/>
                    </a:cubicBez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4" name="Google Shape;18;p2">
                <a:extLst>
                  <a:ext uri="{FF2B5EF4-FFF2-40B4-BE49-F238E27FC236}">
                    <a16:creationId xmlns:a16="http://schemas.microsoft.com/office/drawing/2014/main" id="{35822119-AF49-4808-B0CD-7DBB9E88F67A}"/>
                  </a:ext>
                </a:extLst>
              </p:cNvPr>
              <p:cNvSpPr/>
              <p:nvPr/>
            </p:nvSpPr>
            <p:spPr>
              <a:xfrm>
                <a:off x="8208497" y="2670123"/>
                <a:ext cx="882090" cy="1631418"/>
              </a:xfrm>
              <a:custGeom>
                <a:avLst/>
                <a:gdLst/>
                <a:ahLst/>
                <a:cxnLst/>
                <a:rect l="l" t="t" r="r" b="b"/>
                <a:pathLst>
                  <a:path w="882090" h="1631418" extrusionOk="0">
                    <a:moveTo>
                      <a:pt x="247273" y="583913"/>
                    </a:moveTo>
                    <a:lnTo>
                      <a:pt x="0" y="583913"/>
                    </a:lnTo>
                    <a:lnTo>
                      <a:pt x="0" y="363939"/>
                    </a:lnTo>
                    <a:lnTo>
                      <a:pt x="247273" y="363939"/>
                    </a:lnTo>
                    <a:lnTo>
                      <a:pt x="247273" y="0"/>
                    </a:lnTo>
                    <a:lnTo>
                      <a:pt x="506453" y="0"/>
                    </a:lnTo>
                    <a:lnTo>
                      <a:pt x="506453" y="363939"/>
                    </a:lnTo>
                    <a:lnTo>
                      <a:pt x="882090" y="363939"/>
                    </a:lnTo>
                    <a:lnTo>
                      <a:pt x="882090" y="583913"/>
                    </a:lnTo>
                    <a:lnTo>
                      <a:pt x="506278" y="583913"/>
                    </a:lnTo>
                    <a:lnTo>
                      <a:pt x="506278" y="1141555"/>
                    </a:lnTo>
                    <a:cubicBezTo>
                      <a:pt x="506278" y="1234379"/>
                      <a:pt x="522214" y="1300581"/>
                      <a:pt x="553912" y="1340163"/>
                    </a:cubicBezTo>
                    <a:cubicBezTo>
                      <a:pt x="585609" y="1379744"/>
                      <a:pt x="639897" y="1399710"/>
                      <a:pt x="716775" y="1399535"/>
                    </a:cubicBezTo>
                    <a:cubicBezTo>
                      <a:pt x="750924" y="1399535"/>
                      <a:pt x="779819" y="1398134"/>
                      <a:pt x="803636" y="1395332"/>
                    </a:cubicBezTo>
                    <a:cubicBezTo>
                      <a:pt x="827452" y="1392529"/>
                      <a:pt x="853546" y="1388851"/>
                      <a:pt x="882090" y="1383948"/>
                    </a:cubicBezTo>
                    <a:lnTo>
                      <a:pt x="882090" y="1601645"/>
                    </a:lnTo>
                    <a:cubicBezTo>
                      <a:pt x="849517" y="1611103"/>
                      <a:pt x="816420" y="1618283"/>
                      <a:pt x="782796" y="1623012"/>
                    </a:cubicBezTo>
                    <a:cubicBezTo>
                      <a:pt x="744444" y="1628616"/>
                      <a:pt x="705742" y="1631419"/>
                      <a:pt x="666865" y="1631419"/>
                    </a:cubicBezTo>
                    <a:cubicBezTo>
                      <a:pt x="387020" y="1631419"/>
                      <a:pt x="247097" y="1478347"/>
                      <a:pt x="247097" y="1172380"/>
                    </a:cubicBezTo>
                    <a:lnTo>
                      <a:pt x="247273" y="583913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5" name="Google Shape;19;p2">
                <a:extLst>
                  <a:ext uri="{FF2B5EF4-FFF2-40B4-BE49-F238E27FC236}">
                    <a16:creationId xmlns:a16="http://schemas.microsoft.com/office/drawing/2014/main" id="{7068C831-E486-40A2-BFA5-A903415A9672}"/>
                  </a:ext>
                </a:extLst>
              </p:cNvPr>
              <p:cNvSpPr/>
              <p:nvPr/>
            </p:nvSpPr>
            <p:spPr>
              <a:xfrm>
                <a:off x="9214573" y="3004463"/>
                <a:ext cx="1227080" cy="1299705"/>
              </a:xfrm>
              <a:custGeom>
                <a:avLst/>
                <a:gdLst/>
                <a:ahLst/>
                <a:cxnLst/>
                <a:rect l="l" t="t" r="r" b="b"/>
                <a:pathLst>
                  <a:path w="1227080" h="1299705" extrusionOk="0">
                    <a:moveTo>
                      <a:pt x="1226906" y="1269932"/>
                    </a:moveTo>
                    <a:lnTo>
                      <a:pt x="972454" y="1269932"/>
                    </a:lnTo>
                    <a:lnTo>
                      <a:pt x="972454" y="1096369"/>
                    </a:lnTo>
                    <a:cubicBezTo>
                      <a:pt x="927272" y="1161346"/>
                      <a:pt x="869832" y="1211611"/>
                      <a:pt x="800134" y="1246814"/>
                    </a:cubicBezTo>
                    <a:cubicBezTo>
                      <a:pt x="730434" y="1282017"/>
                      <a:pt x="651104" y="1299706"/>
                      <a:pt x="562317" y="1299706"/>
                    </a:cubicBezTo>
                    <a:cubicBezTo>
                      <a:pt x="452866" y="1299706"/>
                      <a:pt x="356024" y="1271683"/>
                      <a:pt x="271615" y="1215814"/>
                    </a:cubicBezTo>
                    <a:cubicBezTo>
                      <a:pt x="187206" y="1159945"/>
                      <a:pt x="120834" y="1083059"/>
                      <a:pt x="72501" y="985156"/>
                    </a:cubicBezTo>
                    <a:cubicBezTo>
                      <a:pt x="24167" y="887253"/>
                      <a:pt x="0" y="775340"/>
                      <a:pt x="0" y="649240"/>
                    </a:cubicBezTo>
                    <a:cubicBezTo>
                      <a:pt x="0" y="522439"/>
                      <a:pt x="24517" y="410175"/>
                      <a:pt x="73727" y="312623"/>
                    </a:cubicBezTo>
                    <a:cubicBezTo>
                      <a:pt x="122936" y="215071"/>
                      <a:pt x="190883" y="138710"/>
                      <a:pt x="277569" y="83191"/>
                    </a:cubicBezTo>
                    <a:cubicBezTo>
                      <a:pt x="364429" y="27672"/>
                      <a:pt x="464074" y="0"/>
                      <a:pt x="576678" y="0"/>
                    </a:cubicBezTo>
                    <a:cubicBezTo>
                      <a:pt x="661437" y="0"/>
                      <a:pt x="737615" y="16463"/>
                      <a:pt x="805037" y="49389"/>
                    </a:cubicBezTo>
                    <a:cubicBezTo>
                      <a:pt x="871583" y="81615"/>
                      <a:pt x="929023" y="129603"/>
                      <a:pt x="972629" y="189150"/>
                    </a:cubicBezTo>
                    <a:lnTo>
                      <a:pt x="972629" y="29774"/>
                    </a:lnTo>
                    <a:lnTo>
                      <a:pt x="1227081" y="29774"/>
                    </a:lnTo>
                    <a:lnTo>
                      <a:pt x="1227081" y="1269932"/>
                    </a:lnTo>
                    <a:close/>
                    <a:moveTo>
                      <a:pt x="967550" y="463768"/>
                    </a:moveTo>
                    <a:cubicBezTo>
                      <a:pt x="939705" y="393187"/>
                      <a:pt x="895925" y="337493"/>
                      <a:pt x="836208" y="296685"/>
                    </a:cubicBezTo>
                    <a:cubicBezTo>
                      <a:pt x="776317" y="255878"/>
                      <a:pt x="707144" y="235387"/>
                      <a:pt x="628688" y="235387"/>
                    </a:cubicBezTo>
                    <a:cubicBezTo>
                      <a:pt x="517661" y="235387"/>
                      <a:pt x="429400" y="272691"/>
                      <a:pt x="363554" y="347125"/>
                    </a:cubicBezTo>
                    <a:cubicBezTo>
                      <a:pt x="297708" y="421559"/>
                      <a:pt x="264785" y="522264"/>
                      <a:pt x="264785" y="649240"/>
                    </a:cubicBezTo>
                    <a:cubicBezTo>
                      <a:pt x="264785" y="776916"/>
                      <a:pt x="296482" y="877971"/>
                      <a:pt x="359876" y="952405"/>
                    </a:cubicBezTo>
                    <a:cubicBezTo>
                      <a:pt x="423270" y="1027014"/>
                      <a:pt x="509256" y="1064144"/>
                      <a:pt x="617831" y="1064144"/>
                    </a:cubicBezTo>
                    <a:cubicBezTo>
                      <a:pt x="697862" y="1064144"/>
                      <a:pt x="769137" y="1043477"/>
                      <a:pt x="831830" y="1002320"/>
                    </a:cubicBezTo>
                    <a:cubicBezTo>
                      <a:pt x="894524" y="961162"/>
                      <a:pt x="939705" y="905643"/>
                      <a:pt x="967375" y="835763"/>
                    </a:cubicBezTo>
                    <a:lnTo>
                      <a:pt x="967550" y="463768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</p:grpSp>
        <p:grpSp>
          <p:nvGrpSpPr>
            <p:cNvPr id="14" name="Google Shape;20;p2">
              <a:extLst>
                <a:ext uri="{FF2B5EF4-FFF2-40B4-BE49-F238E27FC236}">
                  <a16:creationId xmlns:a16="http://schemas.microsoft.com/office/drawing/2014/main" id="{94DD7928-3FE6-4DBF-8B63-5DB8EEFBDD37}"/>
                </a:ext>
              </a:extLst>
            </p:cNvPr>
            <p:cNvGrpSpPr/>
            <p:nvPr/>
          </p:nvGrpSpPr>
          <p:grpSpPr>
            <a:xfrm>
              <a:off x="15867399" y="9251826"/>
              <a:ext cx="523393" cy="347510"/>
              <a:chOff x="1751220" y="2553305"/>
              <a:chExt cx="2635412" cy="1751564"/>
            </a:xfrm>
          </p:grpSpPr>
          <p:grpSp>
            <p:nvGrpSpPr>
              <p:cNvPr id="15" name="Google Shape;21;p2">
                <a:extLst>
                  <a:ext uri="{FF2B5EF4-FFF2-40B4-BE49-F238E27FC236}">
                    <a16:creationId xmlns:a16="http://schemas.microsoft.com/office/drawing/2014/main" id="{4B97564F-79C4-43C4-B781-E179FF8B948E}"/>
                  </a:ext>
                </a:extLst>
              </p:cNvPr>
              <p:cNvGrpSpPr/>
              <p:nvPr/>
            </p:nvGrpSpPr>
            <p:grpSpPr>
              <a:xfrm>
                <a:off x="1751220" y="2553305"/>
                <a:ext cx="2635412" cy="1751564"/>
                <a:chOff x="1751220" y="2553305"/>
                <a:chExt cx="2635412" cy="1751564"/>
              </a:xfrm>
            </p:grpSpPr>
            <p:sp>
              <p:nvSpPr>
                <p:cNvPr id="18" name="Google Shape;22;p2">
                  <a:extLst>
                    <a:ext uri="{FF2B5EF4-FFF2-40B4-BE49-F238E27FC236}">
                      <a16:creationId xmlns:a16="http://schemas.microsoft.com/office/drawing/2014/main" id="{07DD8193-B33C-42C3-8CA2-CF48C59A3CC6}"/>
                    </a:ext>
                  </a:extLst>
                </p:cNvPr>
                <p:cNvSpPr/>
                <p:nvPr/>
              </p:nvSpPr>
              <p:spPr>
                <a:xfrm>
                  <a:off x="3069540" y="3101490"/>
                  <a:ext cx="1317092" cy="12033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7092" h="1203379" extrusionOk="0">
                      <a:moveTo>
                        <a:pt x="1277166" y="226980"/>
                      </a:moveTo>
                      <a:lnTo>
                        <a:pt x="1020962" y="226980"/>
                      </a:lnTo>
                      <a:cubicBezTo>
                        <a:pt x="1049682" y="343622"/>
                        <a:pt x="1065618" y="472875"/>
                        <a:pt x="1065618" y="608958"/>
                      </a:cubicBezTo>
                      <a:cubicBezTo>
                        <a:pt x="1065618" y="804588"/>
                        <a:pt x="1001523" y="918253"/>
                        <a:pt x="868780" y="918253"/>
                      </a:cubicBezTo>
                      <a:cubicBezTo>
                        <a:pt x="741467" y="918253"/>
                        <a:pt x="680700" y="834187"/>
                        <a:pt x="439031" y="445378"/>
                      </a:cubicBezTo>
                      <a:lnTo>
                        <a:pt x="284573" y="187749"/>
                      </a:lnTo>
                      <a:cubicBezTo>
                        <a:pt x="242719" y="119795"/>
                        <a:pt x="202616" y="57095"/>
                        <a:pt x="164089" y="0"/>
                      </a:cubicBezTo>
                      <a:lnTo>
                        <a:pt x="21365" y="0"/>
                      </a:lnTo>
                      <a:lnTo>
                        <a:pt x="0" y="277420"/>
                      </a:lnTo>
                      <a:cubicBezTo>
                        <a:pt x="27669" y="322080"/>
                        <a:pt x="56915" y="370244"/>
                        <a:pt x="87561" y="421910"/>
                      </a:cubicBezTo>
                      <a:lnTo>
                        <a:pt x="216801" y="639257"/>
                      </a:lnTo>
                      <a:cubicBezTo>
                        <a:pt x="468452" y="1060466"/>
                        <a:pt x="608724" y="1203379"/>
                        <a:pt x="863002" y="1203379"/>
                      </a:cubicBezTo>
                      <a:cubicBezTo>
                        <a:pt x="1154755" y="1203379"/>
                        <a:pt x="1317093" y="967117"/>
                        <a:pt x="1317093" y="589868"/>
                      </a:cubicBezTo>
                      <a:cubicBezTo>
                        <a:pt x="1316918" y="463417"/>
                        <a:pt x="1302908" y="341346"/>
                        <a:pt x="1277166" y="226980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64E0"/>
                    </a:gs>
                    <a:gs pos="13000">
                      <a:srgbClr val="0064E0"/>
                    </a:gs>
                    <a:gs pos="82000">
                      <a:srgbClr val="2C7FF4"/>
                    </a:gs>
                    <a:gs pos="100000">
                      <a:srgbClr val="2C7FF4"/>
                    </a:gs>
                  </a:gsLst>
                  <a:lin ang="0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19" name="Google Shape;23;p2">
                  <a:extLst>
                    <a:ext uri="{FF2B5EF4-FFF2-40B4-BE49-F238E27FC236}">
                      <a16:creationId xmlns:a16="http://schemas.microsoft.com/office/drawing/2014/main" id="{B6535C75-406E-4C9A-810E-B03663B19C43}"/>
                    </a:ext>
                  </a:extLst>
                </p:cNvPr>
                <p:cNvSpPr/>
                <p:nvPr/>
              </p:nvSpPr>
              <p:spPr>
                <a:xfrm>
                  <a:off x="3091079" y="2553305"/>
                  <a:ext cx="1255800" cy="775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5800" h="775164" extrusionOk="0">
                      <a:moveTo>
                        <a:pt x="533422" y="225929"/>
                      </a:moveTo>
                      <a:cubicBezTo>
                        <a:pt x="741992" y="225929"/>
                        <a:pt x="919916" y="451683"/>
                        <a:pt x="999597" y="775165"/>
                      </a:cubicBezTo>
                      <a:lnTo>
                        <a:pt x="1255801" y="775165"/>
                      </a:lnTo>
                      <a:cubicBezTo>
                        <a:pt x="1155455" y="329086"/>
                        <a:pt x="876311" y="0"/>
                        <a:pt x="551635" y="0"/>
                      </a:cubicBezTo>
                      <a:cubicBezTo>
                        <a:pt x="335534" y="0"/>
                        <a:pt x="166716" y="162704"/>
                        <a:pt x="13660" y="369543"/>
                      </a:cubicBezTo>
                      <a:lnTo>
                        <a:pt x="0" y="548010"/>
                      </a:lnTo>
                      <a:lnTo>
                        <a:pt x="142725" y="548010"/>
                      </a:lnTo>
                      <a:cubicBezTo>
                        <a:pt x="281772" y="332939"/>
                        <a:pt x="396652" y="225929"/>
                        <a:pt x="533422" y="225929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2C7FF4"/>
                    </a:gs>
                    <a:gs pos="13000">
                      <a:srgbClr val="2C7FF4"/>
                    </a:gs>
                    <a:gs pos="100000">
                      <a:srgbClr val="128DFF"/>
                    </a:gs>
                  </a:gsLst>
                  <a:lin ang="10800025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20" name="Google Shape;24;p2">
                  <a:extLst>
                    <a:ext uri="{FF2B5EF4-FFF2-40B4-BE49-F238E27FC236}">
                      <a16:creationId xmlns:a16="http://schemas.microsoft.com/office/drawing/2014/main" id="{3A8B30AD-2D9E-4D1A-8183-AE701DA4C87C}"/>
                    </a:ext>
                  </a:extLst>
                </p:cNvPr>
                <p:cNvSpPr/>
                <p:nvPr/>
              </p:nvSpPr>
              <p:spPr>
                <a:xfrm>
                  <a:off x="1751220" y="2553305"/>
                  <a:ext cx="1353343" cy="1751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53343" h="1751388" extrusionOk="0">
                      <a:moveTo>
                        <a:pt x="757228" y="0"/>
                      </a:moveTo>
                      <a:cubicBezTo>
                        <a:pt x="328529" y="0"/>
                        <a:pt x="0" y="557992"/>
                        <a:pt x="0" y="1148736"/>
                      </a:cubicBezTo>
                      <a:cubicBezTo>
                        <a:pt x="0" y="1518279"/>
                        <a:pt x="178800" y="1751389"/>
                        <a:pt x="478258" y="1751389"/>
                      </a:cubicBezTo>
                      <a:cubicBezTo>
                        <a:pt x="693834" y="1751389"/>
                        <a:pt x="848817" y="1649808"/>
                        <a:pt x="1124459" y="1168001"/>
                      </a:cubicBezTo>
                      <a:cubicBezTo>
                        <a:pt x="1124459" y="1168001"/>
                        <a:pt x="1239339" y="965190"/>
                        <a:pt x="1318319" y="825430"/>
                      </a:cubicBezTo>
                      <a:lnTo>
                        <a:pt x="1318319" y="825430"/>
                      </a:lnTo>
                      <a:lnTo>
                        <a:pt x="1353344" y="369543"/>
                      </a:lnTo>
                      <a:cubicBezTo>
                        <a:pt x="1143197" y="101931"/>
                        <a:pt x="967550" y="0"/>
                        <a:pt x="757228" y="0"/>
                      </a:cubicBezTo>
                      <a:close/>
                      <a:moveTo>
                        <a:pt x="914312" y="1037523"/>
                      </a:moveTo>
                      <a:cubicBezTo>
                        <a:pt x="690857" y="1387800"/>
                        <a:pt x="613628" y="1466263"/>
                        <a:pt x="489116" y="1466263"/>
                      </a:cubicBezTo>
                      <a:cubicBezTo>
                        <a:pt x="361102" y="1466263"/>
                        <a:pt x="284924" y="1353824"/>
                        <a:pt x="284924" y="1153465"/>
                      </a:cubicBezTo>
                      <a:cubicBezTo>
                        <a:pt x="284924" y="724725"/>
                        <a:pt x="498748" y="286177"/>
                        <a:pt x="753550" y="286177"/>
                      </a:cubicBezTo>
                      <a:cubicBezTo>
                        <a:pt x="891547" y="286177"/>
                        <a:pt x="1006952" y="365865"/>
                        <a:pt x="1183475" y="618766"/>
                      </a:cubicBezTo>
                      <a:cubicBezTo>
                        <a:pt x="1015883" y="876220"/>
                        <a:pt x="914312" y="1037523"/>
                        <a:pt x="914312" y="1037523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64E0"/>
                    </a:gs>
                    <a:gs pos="36000">
                      <a:srgbClr val="0064E0"/>
                    </a:gs>
                    <a:gs pos="78000">
                      <a:srgbClr val="128DFF"/>
                    </a:gs>
                    <a:gs pos="100000">
                      <a:srgbClr val="128DFF"/>
                    </a:gs>
                  </a:gsLst>
                  <a:lin ang="1801379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21" name="Google Shape;25;p2">
                  <a:extLst>
                    <a:ext uri="{FF2B5EF4-FFF2-40B4-BE49-F238E27FC236}">
                      <a16:creationId xmlns:a16="http://schemas.microsoft.com/office/drawing/2014/main" id="{1950DF61-E6ED-4817-B1C7-417E081E60D0}"/>
                    </a:ext>
                  </a:extLst>
                </p:cNvPr>
                <p:cNvSpPr/>
                <p:nvPr/>
              </p:nvSpPr>
              <p:spPr>
                <a:xfrm>
                  <a:off x="2504771" y="2553305"/>
                  <a:ext cx="849517" cy="10023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9517" h="1002319" extrusionOk="0">
                      <a:moveTo>
                        <a:pt x="849517" y="735758"/>
                      </a:moveTo>
                      <a:cubicBezTo>
                        <a:pt x="514509" y="190901"/>
                        <a:pt x="291578" y="0"/>
                        <a:pt x="3678" y="0"/>
                      </a:cubicBezTo>
                      <a:lnTo>
                        <a:pt x="0" y="286177"/>
                      </a:lnTo>
                      <a:cubicBezTo>
                        <a:pt x="188431" y="286177"/>
                        <a:pt x="334483" y="434695"/>
                        <a:pt x="652155" y="969744"/>
                      </a:cubicBezTo>
                      <a:lnTo>
                        <a:pt x="671593" y="1002320"/>
                      </a:lnTo>
                      <a:lnTo>
                        <a:pt x="849517" y="735758"/>
                      </a:lnTo>
                      <a:close/>
                    </a:path>
                  </a:pathLst>
                </a:custGeom>
                <a:solidFill>
                  <a:srgbClr val="0064E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marL="0" marR="0" lvl="0" indent="0" algn="l" defTabSz="60963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</p:grpSp>
          <p:sp>
            <p:nvSpPr>
              <p:cNvPr id="17" name="Google Shape;26;p2">
                <a:extLst>
                  <a:ext uri="{FF2B5EF4-FFF2-40B4-BE49-F238E27FC236}">
                    <a16:creationId xmlns:a16="http://schemas.microsoft.com/office/drawing/2014/main" id="{D3D18760-C515-4296-816A-66A5CD47A886}"/>
                  </a:ext>
                </a:extLst>
              </p:cNvPr>
              <p:cNvSpPr/>
              <p:nvPr/>
            </p:nvSpPr>
            <p:spPr>
              <a:xfrm>
                <a:off x="4034812" y="3064536"/>
                <a:ext cx="329229" cy="361311"/>
              </a:xfrm>
              <a:custGeom>
                <a:avLst/>
                <a:gdLst/>
                <a:ahLst/>
                <a:cxnLst/>
                <a:rect l="l" t="t" r="r" b="b"/>
                <a:pathLst>
                  <a:path w="329229" h="361311" extrusionOk="0">
                    <a:moveTo>
                      <a:pt x="311893" y="263934"/>
                    </a:moveTo>
                    <a:lnTo>
                      <a:pt x="311893" y="263934"/>
                    </a:lnTo>
                    <a:cubicBezTo>
                      <a:pt x="291053" y="170060"/>
                      <a:pt x="261983" y="81440"/>
                      <a:pt x="226258" y="0"/>
                    </a:cubicBezTo>
                    <a:lnTo>
                      <a:pt x="0" y="90547"/>
                    </a:lnTo>
                    <a:cubicBezTo>
                      <a:pt x="21890" y="144139"/>
                      <a:pt x="40628" y="202285"/>
                      <a:pt x="55864" y="263934"/>
                    </a:cubicBezTo>
                    <a:lnTo>
                      <a:pt x="55689" y="263934"/>
                    </a:lnTo>
                    <a:cubicBezTo>
                      <a:pt x="63394" y="295459"/>
                      <a:pt x="70224" y="328035"/>
                      <a:pt x="76003" y="361311"/>
                    </a:cubicBezTo>
                    <a:lnTo>
                      <a:pt x="329230" y="353080"/>
                    </a:lnTo>
                    <a:cubicBezTo>
                      <a:pt x="324326" y="322781"/>
                      <a:pt x="318547" y="293183"/>
                      <a:pt x="311893" y="263934"/>
                    </a:cubicBezTo>
                    <a:close/>
                  </a:path>
                </a:pathLst>
              </a:custGeom>
              <a:solidFill>
                <a:srgbClr val="2C7FF4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marL="0" marR="0" lvl="0" indent="0" algn="l" defTabSz="6096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</p:grp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766EB2E-760C-4376-8752-7B81620A24FE}"/>
              </a:ext>
            </a:extLst>
          </p:cNvPr>
          <p:cNvSpPr txBox="1"/>
          <p:nvPr/>
        </p:nvSpPr>
        <p:spPr>
          <a:xfrm>
            <a:off x="914400" y="6270332"/>
            <a:ext cx="60935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 – Analytic-Edge Model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BE7DBC-4094-4B35-AF70-4BB0E824C2B3}"/>
              </a:ext>
            </a:extLst>
          </p:cNvPr>
          <p:cNvSpPr/>
          <p:nvPr/>
        </p:nvSpPr>
        <p:spPr>
          <a:xfrm>
            <a:off x="464803" y="6136615"/>
            <a:ext cx="2558540" cy="24266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vid includes Mobility only</a:t>
            </a:r>
            <a:endParaRPr lang="en-IN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909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olt">
  <a:themeElements>
    <a:clrScheme name="Custom 112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186A43"/>
      </a:accent1>
      <a:accent2>
        <a:srgbClr val="002060"/>
      </a:accent2>
      <a:accent3>
        <a:srgbClr val="C82606"/>
      </a:accent3>
      <a:accent4>
        <a:srgbClr val="F79646"/>
      </a:accent4>
      <a:accent5>
        <a:srgbClr val="252526"/>
      </a:accent5>
      <a:accent6>
        <a:srgbClr val="1877F2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olt" id="{F0B4D3A3-6A14-4662-8767-269145F77354}" vid="{9E20B7BD-456A-4814-837C-C5AE85D2045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19</TotalTime>
  <Words>160</Words>
  <Application>Microsoft Office PowerPoint</Application>
  <PresentationFormat>Widescreen</PresentationFormat>
  <Paragraphs>37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Optimistic Text</vt:lpstr>
      <vt:lpstr>1_Bolt</vt:lpstr>
      <vt:lpstr>think-cell Slide</vt:lpstr>
      <vt:lpstr>First time activations from Model  – First Time Activations KPI (Daily)</vt:lpstr>
      <vt:lpstr>First time activations from Model  – First Time Activations KPI</vt:lpstr>
      <vt:lpstr>First time activations from Model  – First Time Activations KPI (Weekly)</vt:lpstr>
      <vt:lpstr>First time activations from Model  – First Time Activations KPI (Weekly)</vt:lpstr>
      <vt:lpstr>First time activations from Model  – First Time Activations KPI (Weekly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rst time activations from Model  – First Time Activations KPI</dc:title>
  <dc:creator>Kavya Bhat</dc:creator>
  <cp:lastModifiedBy>Kavya Bhat</cp:lastModifiedBy>
  <cp:revision>14</cp:revision>
  <dcterms:created xsi:type="dcterms:W3CDTF">2022-01-04T07:10:57Z</dcterms:created>
  <dcterms:modified xsi:type="dcterms:W3CDTF">2022-01-07T04:44:58Z</dcterms:modified>
</cp:coreProperties>
</file>